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648" r:id="rId2"/>
    <p:sldMasterId id="2147483715" r:id="rId3"/>
    <p:sldMasterId id="2147483721" r:id="rId4"/>
  </p:sldMasterIdLst>
  <p:notesMasterIdLst>
    <p:notesMasterId r:id="rId12"/>
  </p:notesMasterIdLst>
  <p:handoutMasterIdLst>
    <p:handoutMasterId r:id="rId13"/>
  </p:handoutMasterIdLst>
  <p:sldIdLst>
    <p:sldId id="371" r:id="rId5"/>
    <p:sldId id="368" r:id="rId6"/>
    <p:sldId id="372" r:id="rId7"/>
    <p:sldId id="373" r:id="rId8"/>
    <p:sldId id="362" r:id="rId9"/>
    <p:sldId id="346" r:id="rId10"/>
    <p:sldId id="364" r:id="rId11"/>
  </p:sldIdLst>
  <p:sldSz cx="9144000" cy="6858000" type="screen4x3"/>
  <p:notesSz cx="6797675" cy="9928225"/>
  <p:custDataLst>
    <p:tags r:id="rId14"/>
  </p:custDataLst>
  <p:defaultTextStyle>
    <a:defPPr>
      <a:defRPr lang="fr-FR"/>
    </a:defPPr>
    <a:lvl1pPr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rgbClr val="000000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7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60028"/>
    <a:srgbClr val="A5A5A5"/>
    <a:srgbClr val="737373"/>
    <a:srgbClr val="C2C2C2"/>
    <a:srgbClr val="73738B"/>
    <a:srgbClr val="CC0000"/>
    <a:srgbClr val="31859C"/>
    <a:srgbClr val="C9C29F"/>
    <a:srgbClr val="DDD9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54" autoAdjust="0"/>
    <p:restoredTop sz="96723" autoAdjust="0"/>
  </p:normalViewPr>
  <p:slideViewPr>
    <p:cSldViewPr>
      <p:cViewPr varScale="1">
        <p:scale>
          <a:sx n="61" d="100"/>
          <a:sy n="61" d="100"/>
        </p:scale>
        <p:origin x="1784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7845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964" y="-114"/>
      </p:cViewPr>
      <p:guideLst>
        <p:guide orient="horz" pos="2929"/>
        <p:guide pos="2207"/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7EDB7330-1C6C-4649-95CC-05127F5C3DBE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34" y="2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296" y="4714114"/>
            <a:ext cx="5439101" cy="446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l" defTabSz="947738">
              <a:defRPr sz="13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34" y="9431416"/>
            <a:ext cx="2944644" cy="49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7" tIns="47408" rIns="94817" bIns="47408" numCol="1" anchor="b" anchorCtr="0" compatLnSpc="1">
            <a:prstTxWarp prst="textNoShape">
              <a:avLst/>
            </a:prstTxWarp>
          </a:bodyPr>
          <a:lstStyle>
            <a:lvl1pPr algn="r" defTabSz="947738">
              <a:defRPr sz="1300">
                <a:solidFill>
                  <a:schemeClr val="tx1"/>
                </a:solidFill>
              </a:defRPr>
            </a:lvl1pPr>
          </a:lstStyle>
          <a:p>
            <a:fld id="{4162CF33-256A-4FAB-83BB-57A15EA659C8}" type="slidenum">
              <a:rPr lang="fr-FR"/>
              <a:pPr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1137D-71D3-4CD4-BE9D-602926C8BAE3}" type="slidenum">
              <a:rPr lang="fr-FR"/>
              <a:pPr/>
              <a:t>1</a:t>
            </a:fld>
            <a:endParaRPr lang="fr-FR" dirty="0"/>
          </a:p>
        </p:txBody>
      </p:sp>
      <p:sp>
        <p:nvSpPr>
          <p:cNvPr id="925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5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3858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EC17F9-616B-4BD6-9BBE-F85C7EA4C488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24579" name="Rectangle 7"/>
          <p:cNvSpPr txBox="1">
            <a:spLocks noGrp="1" noChangeArrowheads="1"/>
          </p:cNvSpPr>
          <p:nvPr/>
        </p:nvSpPr>
        <p:spPr bwMode="auto">
          <a:xfrm>
            <a:off x="3851814" y="9430817"/>
            <a:ext cx="2944342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13" tIns="47755" rIns="95513" bIns="47755" anchor="b"/>
          <a:lstStyle/>
          <a:p>
            <a:pPr algn="r" defTabSz="955776"/>
            <a:fld id="{A6049FEC-9064-43EF-8D9D-517594DF53CC}" type="slidenum">
              <a:rPr lang="fr-FR" sz="1300">
                <a:solidFill>
                  <a:schemeClr val="tx1"/>
                </a:solidFill>
              </a:rPr>
              <a:pPr algn="r" defTabSz="955776"/>
              <a:t>2</a:t>
            </a:fld>
            <a:endParaRPr lang="fr-FR" sz="1300" dirty="0">
              <a:solidFill>
                <a:schemeClr val="tx1"/>
              </a:solidFill>
            </a:endParaRPr>
          </a:p>
        </p:txBody>
      </p:sp>
      <p:sp>
        <p:nvSpPr>
          <p:cNvPr id="245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0550" y="84138"/>
            <a:ext cx="5640388" cy="4232275"/>
          </a:xfrm>
          <a:ln/>
        </p:spPr>
      </p:sp>
      <p:sp>
        <p:nvSpPr>
          <p:cNvPr id="2458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23" y="4318092"/>
            <a:ext cx="6797675" cy="4467471"/>
          </a:xfrm>
          <a:noFill/>
          <a:ln/>
        </p:spPr>
        <p:txBody>
          <a:bodyPr lIns="95513" tIns="47755" rIns="95513" bIns="47755"/>
          <a:lstStyle/>
          <a:p>
            <a:pPr eaLnBrk="1" hangingPunct="1">
              <a:lnSpc>
                <a:spcPct val="80000"/>
              </a:lnSpc>
            </a:pPr>
            <a:endParaRPr lang="fr-FR" sz="900" dirty="0" smtClean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454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2511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762000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dirty="0" smtClean="0"/>
              <a:t>Cost/income :</a:t>
            </a:r>
            <a:r>
              <a:rPr lang="en-GB" baseline="0" noProof="0" dirty="0" smtClean="0"/>
              <a:t> in spite of further contribution to resolution fund in the Czech Republic</a:t>
            </a:r>
            <a:endParaRPr lang="en-GB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034826D-B662-4F02-9A13-0FB5482AEF95}" type="slidenum">
              <a:rPr lang="fr-FR" smtClean="0">
                <a:solidFill>
                  <a:prstClr val="black"/>
                </a:solidFill>
              </a:rPr>
              <a:pPr/>
              <a:t>6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682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62CF33-256A-4FAB-83BB-57A15EA659C8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77335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3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57213" y="2085975"/>
            <a:ext cx="8029575" cy="2681288"/>
          </a:xfrm>
        </p:spPr>
        <p:txBody>
          <a:bodyPr/>
          <a:lstStyle>
            <a:lvl1pPr algn="ctr">
              <a:defRPr sz="3400" b="0"/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9543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57213" y="1295400"/>
            <a:ext cx="8029575" cy="719138"/>
          </a:xfrm>
        </p:spPr>
        <p:txBody>
          <a:bodyPr/>
          <a:lstStyle>
            <a:lvl1pPr marL="0" indent="0" algn="ctr">
              <a:spcBef>
                <a:spcPct val="0"/>
              </a:spcBef>
              <a:buFont typeface="Wingdings" pitchFamily="2" charset="2"/>
              <a:buNone/>
              <a:defRPr sz="12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954373" name="Rectangle 5"/>
          <p:cNvSpPr>
            <a:spLocks noGrp="1" noChangeArrowheads="1"/>
          </p:cNvSpPr>
          <p:nvPr>
            <p:ph type="dt" sz="half" idx="2"/>
          </p:nvPr>
        </p:nvSpPr>
        <p:spPr>
          <a:xfrm>
            <a:off x="557213" y="4849813"/>
            <a:ext cx="8029575" cy="479425"/>
          </a:xfrm>
        </p:spPr>
        <p:txBody>
          <a:bodyPr rIns="0" anchor="b"/>
          <a:lstStyle>
            <a:lvl1pPr algn="ctr">
              <a:defRPr sz="1100"/>
            </a:lvl1pPr>
          </a:lstStyle>
          <a:p>
            <a:endParaRPr lang="fr-FR" dirty="0"/>
          </a:p>
        </p:txBody>
      </p:sp>
      <p:sp>
        <p:nvSpPr>
          <p:cNvPr id="954380" name="Line 12"/>
          <p:cNvSpPr>
            <a:spLocks noChangeShapeType="1"/>
          </p:cNvSpPr>
          <p:nvPr/>
        </p:nvSpPr>
        <p:spPr bwMode="gray">
          <a:xfrm flipV="1">
            <a:off x="4572000" y="209550"/>
            <a:ext cx="0" cy="266700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pic>
        <p:nvPicPr>
          <p:cNvPr id="7" name="Picture 6" descr="logo_BRD_EN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5536" y="5805264"/>
            <a:ext cx="1920211" cy="7200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A02739D-A658-4FAC-BB9E-4CD069A51EA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260350"/>
            <a:ext cx="2006600" cy="56896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260350"/>
            <a:ext cx="5870575" cy="56896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8F6D87-32B5-4B19-9013-F8B6DA107EA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66405" y="64591"/>
            <a:ext cx="1846680" cy="187799"/>
          </a:xfrm>
        </p:spPr>
        <p:txBody>
          <a:bodyPr tIns="36000" bIns="36000"/>
          <a:lstStyle>
            <a:lvl1pPr>
              <a:buNone/>
              <a:defRPr lang="en-US" sz="831" b="0" kern="1200" cap="all" spc="92" baseline="0" noProof="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66176" algn="l" defTabSz="844174" rtl="0" eaLnBrk="1" fontAlgn="auto" latinLnBrk="0" hangingPunct="1">
              <a:lnSpc>
                <a:spcPct val="90000"/>
              </a:lnSpc>
              <a:spcBef>
                <a:spcPts val="1108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 smtClean="0"/>
              <a:t>X – Insert section tit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6405" y="326978"/>
            <a:ext cx="8424380" cy="2273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477" b="0" cap="all" baseline="0"/>
            </a:lvl1pPr>
          </a:lstStyle>
          <a:p>
            <a:r>
              <a:rPr lang="en-US" dirty="0" smtClean="0"/>
              <a:t>Click to add tit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66405" y="1185865"/>
            <a:ext cx="8424380" cy="12318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6405" y="6130050"/>
            <a:ext cx="8424380" cy="150101"/>
          </a:xfrm>
        </p:spPr>
        <p:txBody>
          <a:bodyPr vert="horz" wrap="square" lIns="0" tIns="0" rIns="0" bIns="36000" rtlCol="0" anchor="b" anchorCtr="0">
            <a:spAutoFit/>
          </a:bodyPr>
          <a:lstStyle>
            <a:lvl1pPr marL="1466" indent="-1466">
              <a:spcBef>
                <a:spcPts val="0"/>
              </a:spcBef>
              <a:buNone/>
              <a:defRPr lang="en-GB" sz="739" b="0" i="0" kern="1200" baseline="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6176" indent="-166176">
              <a:spcBef>
                <a:spcPts val="0"/>
              </a:spcBef>
              <a:buNone/>
              <a:defRPr sz="646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249149" lvl="0" indent="-249149" algn="l" defTabSz="844174" rtl="0" eaLnBrk="1" latinLnBrk="0" hangingPunct="1">
              <a:spcBef>
                <a:spcPts val="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None/>
            </a:pPr>
            <a:r>
              <a:rPr lang="en-GB" noProof="0" dirty="0" smtClean="0"/>
              <a:t>Click to add sources</a:t>
            </a:r>
          </a:p>
        </p:txBody>
      </p:sp>
    </p:spTree>
    <p:extLst>
      <p:ext uri="{BB962C8B-B14F-4D97-AF65-F5344CB8AC3E}">
        <p14:creationId xmlns:p14="http://schemas.microsoft.com/office/powerpoint/2010/main" val="2194315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39908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3"/>
            <a:ext cx="12700" cy="12700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5440" y="392784"/>
            <a:ext cx="8497887" cy="276999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800" b="1" cap="all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25440" y="6084177"/>
            <a:ext cx="8497887" cy="192097"/>
          </a:xfr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add sources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5441" y="33636"/>
            <a:ext cx="2000249" cy="263137"/>
          </a:xfrm>
        </p:spPr>
        <p:txBody>
          <a:bodyPr tIns="36000" bIns="36000"/>
          <a:lstStyle>
            <a:lvl1pPr>
              <a:buNone/>
              <a:defRPr lang="en-US" sz="900" b="0" kern="1200" cap="all" spc="100" baseline="0" noProof="0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ea typeface="+mn-ea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marL="0" marR="0" lvl="0" indent="-1800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en-US" dirty="0"/>
              <a:t>X – 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454609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141E433-6E6E-4BBE-9AA7-03A1BAC192C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1EDFFEF-BF5C-47EE-8A86-3C9BC333FD5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3A208-3694-44F6-8F38-0FC929BC09E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916113"/>
            <a:ext cx="3938587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16113"/>
            <a:ext cx="3938588" cy="40338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BBE42AD-1166-4AEA-9432-E6B78FDEA23D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E719CF5-9120-4DDF-8D50-AABA5097EC31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4CC66D9-1D05-4278-8B27-5B9886A728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C68A018-7726-44BC-BBFC-BE36B5151B3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E1B3239-D5E4-4730-89E7-0E73EB936C53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063888-2C5A-4FA1-B74B-476C898D527B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E5D8041-469B-41FE-B2F1-CB32DC81784C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38F790D-28E2-4F34-A301-797D09D6EFF8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B2D0B0F-72A5-4EDE-AE7D-5536308339C4}" type="slidenum">
              <a:rPr lang="fr-FR"/>
              <a:pPr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2CD64E2-E4CC-499C-BE20-691B36DA477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FE85E07-F967-4CEA-AB79-B2756F07B5F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768B2B42-2B4B-4834-8533-E85BCE1F18C0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544763"/>
            <a:ext cx="3938587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544763"/>
            <a:ext cx="3938588" cy="3405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952F204-3F26-49DA-80F0-5259349E93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8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5A59B88-44AF-4C2C-944B-10AC1A9A829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7030FB9-E0B8-4D43-874C-AB314D0E369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9DEBB5D0-B861-4F71-89D8-BAB1EF7B9C0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24ACCF3D-F20A-4BF1-828E-6070094F5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D9AF7F0-5CDE-4562-B81F-5D0D00D68DB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431F891-1EBD-4000-BC09-5A6CC9AA587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4D3991A-1FB5-42F3-9854-729145257B2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125538"/>
            <a:ext cx="2006600" cy="4824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125538"/>
            <a:ext cx="5870575" cy="4824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8D3EEC94-A838-4EA7-91F3-09AA54AB9B1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DA95C8B0-87A8-4000-906C-F5E642372A8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8484E10-3861-4813-B8A9-1C4C4110B04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CBB6F6A6-7F56-41B8-B8A5-E760DE563B2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1052513"/>
            <a:ext cx="3938587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52513"/>
            <a:ext cx="3938588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63F4A928-7F01-4925-9017-F39854A91E36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7213" y="2293938"/>
            <a:ext cx="3938587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93938"/>
            <a:ext cx="3938588" cy="2270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2A87FA-DE09-4297-BC78-19B4C165C455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C0BBFC4-EC3C-405A-A767-33048123B06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3945364F-1FB4-4789-8D99-67A4A0266AC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0BA6A7E-3772-47B0-8505-FEA7FC119EF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B2BB4417-F191-4949-9D51-08E5941AD4E2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AE0FA011-DC26-4099-A41A-E33912A8F3AA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BA8C6EE-5769-40F4-9D24-FB43C5DE53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1301750"/>
            <a:ext cx="2006600" cy="3262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7213" y="1301750"/>
            <a:ext cx="5870575" cy="3262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E63D2175-8400-4DF1-8C43-E0B5B7BE9AE8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C9653A4-CC29-444D-A6F3-A179A5E17B5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F252279D-1E2E-4DD9-9698-E34C5FFC1253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endParaRPr lang="fr-FR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003F20CB-8015-45D2-9193-C40D9116952D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45586156-2CCF-441C-8EC0-757A65F3B6C4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P.</a:t>
            </a:r>
            <a:fld id="{5BD92176-AD7C-4A83-9536-8CC2A9760BF9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2"/>
          </p:nvPr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vmlDrawing" Target="../drawings/vmlDrawing3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vmlDrawing" Target="../drawings/vmlDrawing4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2387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2"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1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728067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260350"/>
            <a:ext cx="783113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728068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052513"/>
            <a:ext cx="8029575" cy="489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28070" name="Rectangle 6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728071" name="Rectangle 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B9890816-521E-475C-8D42-2BD2D654793C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728074" name="Line 10"/>
          <p:cNvSpPr>
            <a:spLocks noChangeShapeType="1"/>
          </p:cNvSpPr>
          <p:nvPr/>
        </p:nvSpPr>
        <p:spPr bwMode="gray">
          <a:xfrm flipH="1">
            <a:off x="323850" y="6194425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6" name="Line 12"/>
          <p:cNvSpPr>
            <a:spLocks noChangeShapeType="1"/>
          </p:cNvSpPr>
          <p:nvPr/>
        </p:nvSpPr>
        <p:spPr bwMode="gray">
          <a:xfrm flipH="1">
            <a:off x="323850" y="755650"/>
            <a:ext cx="8496300" cy="0"/>
          </a:xfrm>
          <a:prstGeom prst="line">
            <a:avLst/>
          </a:prstGeom>
          <a:noFill/>
          <a:ln w="635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728077" name="Rectangle 13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2" name="Picture 10" descr="logo nou BRD.JPG"/>
          <p:cNvPicPr>
            <a:picLocks noChangeAspect="1"/>
          </p:cNvPicPr>
          <p:nvPr userDrawn="1"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78" r:id="rId12"/>
    <p:sldLayoutId id="2147483779" r:id="rId13"/>
    <p:sldLayoutId id="2147483782" r:id="rId14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spcBef>
          <a:spcPct val="100000"/>
        </a:spcBef>
        <a:spcAft>
          <a:spcPct val="0"/>
        </a:spcAft>
        <a:buClr>
          <a:srgbClr val="666666"/>
        </a:buClr>
        <a:buFont typeface="Wingdings" pitchFamily="2" charset="2"/>
        <a:buChar char="§"/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360363" indent="-177800" algn="l" rtl="0" fontAlgn="base">
        <a:spcBef>
          <a:spcPct val="50000"/>
        </a:spcBef>
        <a:spcAft>
          <a:spcPct val="0"/>
        </a:spcAft>
        <a:buChar char="•"/>
        <a:defRPr sz="1300">
          <a:solidFill>
            <a:srgbClr val="000000"/>
          </a:solidFill>
          <a:latin typeface="+mn-lt"/>
          <a:cs typeface="+mn-cs"/>
        </a:defRPr>
      </a:lvl2pPr>
      <a:lvl3pPr marL="542925" indent="-180975" algn="l" rtl="0" fontAlgn="base">
        <a:spcBef>
          <a:spcPct val="50000"/>
        </a:spcBef>
        <a:spcAft>
          <a:spcPct val="0"/>
        </a:spcAft>
        <a:buFont typeface="Arial" pitchFamily="34" charset="0"/>
        <a:buChar char="▫"/>
        <a:defRPr sz="1100">
          <a:solidFill>
            <a:srgbClr val="000000"/>
          </a:solidFill>
          <a:latin typeface="+mn-lt"/>
          <a:cs typeface="+mn-cs"/>
        </a:defRPr>
      </a:lvl3pPr>
      <a:lvl4pPr marL="723900" indent="-179388" algn="l" rtl="0" fontAlgn="base">
        <a:spcBef>
          <a:spcPct val="50000"/>
        </a:spcBef>
        <a:spcAft>
          <a:spcPct val="0"/>
        </a:spcAft>
        <a:buFont typeface="Arial" pitchFamily="34" charset="0"/>
        <a:buChar char="-"/>
        <a:defRPr sz="900">
          <a:solidFill>
            <a:srgbClr val="000000"/>
          </a:solidFill>
          <a:latin typeface="+mn-lt"/>
          <a:cs typeface="+mn-cs"/>
        </a:defRPr>
      </a:lvl4pPr>
      <a:lvl5pPr marL="8858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5pPr>
      <a:lvl6pPr marL="13430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6pPr>
      <a:lvl7pPr marL="18002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7pPr>
      <a:lvl8pPr marL="22574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8pPr>
      <a:lvl9pPr marL="2714625" indent="-160338" algn="l" rtl="0" fontAlgn="base">
        <a:spcBef>
          <a:spcPct val="50000"/>
        </a:spcBef>
        <a:spcAft>
          <a:spcPct val="0"/>
        </a:spcAft>
        <a:buFont typeface="Arial" pitchFamily="34" charset="0"/>
        <a:buChar char="."/>
        <a:defRPr sz="9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83045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1916113"/>
            <a:ext cx="8029575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5ECDCCFA-045E-488B-BCBE-C6CD30D1246F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39552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8"/>
          <p:cNvSpPr txBox="1">
            <a:spLocks noChangeArrowheads="1"/>
          </p:cNvSpPr>
          <p:nvPr userDrawn="1"/>
        </p:nvSpPr>
        <p:spPr>
          <a:xfrm>
            <a:off x="2771775" y="6416675"/>
            <a:ext cx="3597275" cy="441325"/>
          </a:xfrm>
          <a:prstGeom prst="rect">
            <a:avLst/>
          </a:prstGeom>
          <a:ln/>
        </p:spPr>
        <p:txBody>
          <a:bodyPr/>
          <a:lstStyle>
            <a:lvl1pPr>
              <a:defRPr sz="800"/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dget 2015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l" rtl="0" fontAlgn="base">
        <a:spcBef>
          <a:spcPct val="50000"/>
        </a:spcBef>
        <a:spcAft>
          <a:spcPct val="20000"/>
        </a:spcAft>
        <a:buFont typeface="Arial" pitchFamily="34" charset="0"/>
        <a:defRPr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l" rtl="0" fontAlgn="base">
        <a:spcBef>
          <a:spcPct val="0"/>
        </a:spcBef>
        <a:spcAft>
          <a:spcPct val="20000"/>
        </a:spcAft>
        <a:defRPr sz="1200" b="1">
          <a:solidFill>
            <a:srgbClr val="000000"/>
          </a:solidFill>
          <a:latin typeface="+mn-lt"/>
          <a:cs typeface="+mn-cs"/>
        </a:defRPr>
      </a:lvl2pPr>
      <a:lvl3pPr marL="15875" indent="-1588" algn="l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1000" b="1">
          <a:solidFill>
            <a:srgbClr val="000000"/>
          </a:solidFill>
          <a:latin typeface="+mn-lt"/>
          <a:cs typeface="+mn-cs"/>
        </a:defRPr>
      </a:lvl3pPr>
      <a:lvl4pPr marL="20638" indent="-3175" algn="l" rtl="0" fontAlgn="base">
        <a:spcBef>
          <a:spcPct val="0"/>
        </a:spcBef>
        <a:spcAft>
          <a:spcPct val="40000"/>
        </a:spcAft>
        <a:defRPr sz="900">
          <a:solidFill>
            <a:srgbClr val="000000"/>
          </a:solidFill>
          <a:latin typeface="+mn-lt"/>
          <a:cs typeface="+mn-cs"/>
        </a:defRPr>
      </a:lvl4pPr>
      <a:lvl5pPr marL="254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5pPr>
      <a:lvl6pPr marL="4826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6pPr>
      <a:lvl7pPr marL="9398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7pPr>
      <a:lvl8pPr marL="13970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8pPr>
      <a:lvl9pPr marL="1854200" indent="-3175" algn="l" rtl="0" fontAlgn="base">
        <a:spcBef>
          <a:spcPct val="0"/>
        </a:spcBef>
        <a:spcAft>
          <a:spcPct val="20000"/>
        </a:spcAft>
        <a:buFont typeface="Arial" pitchFamily="34" charset="0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995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1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249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125538"/>
            <a:ext cx="8029575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249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544763"/>
            <a:ext cx="8029575" cy="340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2501" name="Line 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02" name="Line 6"/>
          <p:cNvSpPr>
            <a:spLocks noChangeShapeType="1"/>
          </p:cNvSpPr>
          <p:nvPr/>
        </p:nvSpPr>
        <p:spPr bwMode="gray">
          <a:xfrm flipV="1">
            <a:off x="4572000" y="1700213"/>
            <a:ext cx="0" cy="687387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2515" name="Rectangle 19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2516" name="Rectangle 2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D2CEAD3B-F6DA-4914-9AA0-9D809B8B08E1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2517" name="Rectangle 21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2518" name="Rectangle 22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1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67544" y="6165304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0000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spcBef>
          <a:spcPct val="80000"/>
        </a:spcBef>
        <a:spcAft>
          <a:spcPct val="20000"/>
        </a:spcAft>
        <a:buFont typeface="Arial" pitchFamily="34" charset="0"/>
        <a:defRPr sz="1300" b="1">
          <a:solidFill>
            <a:srgbClr val="E60028"/>
          </a:solidFill>
          <a:latin typeface="+mn-lt"/>
          <a:ea typeface="+mn-ea"/>
          <a:cs typeface="+mn-cs"/>
        </a:defRPr>
      </a:lvl1pPr>
      <a:lvl2pPr marL="12700" indent="-6350" algn="ctr" rtl="0" fontAlgn="base">
        <a:lnSpc>
          <a:spcPct val="140000"/>
        </a:lnSpc>
        <a:spcBef>
          <a:spcPct val="0"/>
        </a:spcBef>
        <a:spcAft>
          <a:spcPct val="20000"/>
        </a:spcAft>
        <a:defRPr sz="900" b="1">
          <a:solidFill>
            <a:srgbClr val="000000"/>
          </a:solidFill>
          <a:latin typeface="+mn-lt"/>
          <a:cs typeface="+mn-cs"/>
        </a:defRPr>
      </a:lvl2pPr>
      <a:lvl3pPr marL="15875" indent="-1588" algn="ctr" rtl="0" fontAlgn="base">
        <a:spcBef>
          <a:spcPct val="0"/>
        </a:spcBef>
        <a:spcAft>
          <a:spcPct val="20000"/>
        </a:spcAft>
        <a:buSzPct val="80000"/>
        <a:buFont typeface="Wingdings" pitchFamily="2" charset="2"/>
        <a:defRPr sz="800" b="1">
          <a:solidFill>
            <a:srgbClr val="000000"/>
          </a:solidFill>
          <a:latin typeface="+mn-lt"/>
          <a:cs typeface="+mn-cs"/>
        </a:defRPr>
      </a:lvl3pPr>
      <a:lvl4pPr marL="20638" indent="-3175" algn="ctr" rtl="0" fontAlgn="base">
        <a:spcBef>
          <a:spcPct val="0"/>
        </a:spcBef>
        <a:spcAft>
          <a:spcPct val="40000"/>
        </a:spcAft>
        <a:defRPr sz="700">
          <a:solidFill>
            <a:srgbClr val="000000"/>
          </a:solidFill>
          <a:latin typeface="+mn-lt"/>
          <a:cs typeface="+mn-cs"/>
        </a:defRPr>
      </a:lvl4pPr>
      <a:lvl5pPr marL="254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5pPr>
      <a:lvl6pPr marL="4826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6pPr>
      <a:lvl7pPr marL="9398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7pPr>
      <a:lvl8pPr marL="13970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8pPr>
      <a:lvl9pPr marL="1854200" indent="-3175" algn="ctr" rtl="0" fontAlgn="base">
        <a:spcBef>
          <a:spcPct val="0"/>
        </a:spcBef>
        <a:spcAft>
          <a:spcPct val="20000"/>
        </a:spcAft>
        <a:buFont typeface="Arial" pitchFamily="34" charset="0"/>
        <a:defRPr sz="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356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4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368647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557213" y="1301750"/>
            <a:ext cx="8029575" cy="99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368648" name="Rectangle 8"/>
          <p:cNvSpPr>
            <a:spLocks noGrp="1" noChangeArrowheads="1"/>
          </p:cNvSpPr>
          <p:nvPr>
            <p:ph type="body" idx="1"/>
          </p:nvPr>
        </p:nvSpPr>
        <p:spPr bwMode="gray">
          <a:xfrm>
            <a:off x="557213" y="2293938"/>
            <a:ext cx="8029575" cy="227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68655" name="Line 15"/>
          <p:cNvSpPr>
            <a:spLocks noChangeShapeType="1"/>
          </p:cNvSpPr>
          <p:nvPr/>
        </p:nvSpPr>
        <p:spPr bwMode="gray">
          <a:xfrm flipV="1">
            <a:off x="4572000" y="260350"/>
            <a:ext cx="0" cy="504825"/>
          </a:xfrm>
          <a:prstGeom prst="line">
            <a:avLst/>
          </a:prstGeom>
          <a:noFill/>
          <a:ln w="12700">
            <a:solidFill>
              <a:srgbClr val="E60028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368668" name="Rectangle 28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573838" y="6416675"/>
            <a:ext cx="1814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36000" bIns="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fr-FR" dirty="0"/>
          </a:p>
        </p:txBody>
      </p:sp>
      <p:sp>
        <p:nvSpPr>
          <p:cNvPr id="368669" name="Rectangle 29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1"/>
            </a:lvl1pPr>
          </a:lstStyle>
          <a:p>
            <a:r>
              <a:rPr lang="fr-FR" dirty="0"/>
              <a:t>P.</a:t>
            </a:r>
            <a:fld id="{9DBB41ED-E21A-4400-A8A3-8C0097CAEF67}" type="slidenum">
              <a:rPr lang="fr-FR"/>
              <a:pPr/>
              <a:t>‹#›</a:t>
            </a:fld>
            <a:endParaRPr lang="fr-FR" dirty="0"/>
          </a:p>
        </p:txBody>
      </p:sp>
      <p:sp>
        <p:nvSpPr>
          <p:cNvPr id="368670" name="Rectangle 3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771775" y="6416675"/>
            <a:ext cx="35972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fr-FR" dirty="0"/>
          </a:p>
        </p:txBody>
      </p:sp>
      <p:sp>
        <p:nvSpPr>
          <p:cNvPr id="368671" name="Rectangle 31"/>
          <p:cNvSpPr>
            <a:spLocks noChangeArrowheads="1"/>
          </p:cNvSpPr>
          <p:nvPr/>
        </p:nvSpPr>
        <p:spPr bwMode="gray">
          <a:xfrm>
            <a:off x="8426450" y="6415088"/>
            <a:ext cx="71438" cy="4429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r>
              <a:rPr lang="fr-FR" sz="800" b="1" dirty="0"/>
              <a:t>|</a:t>
            </a:r>
          </a:p>
        </p:txBody>
      </p:sp>
      <p:pic>
        <p:nvPicPr>
          <p:cNvPr id="10" name="Picture 10" descr="logo nou BRD.JPG"/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23850" y="6273800"/>
            <a:ext cx="129698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hf hdr="0" ftr="0" dt="0"/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+mj-lt"/>
          <a:ea typeface="+mj-ea"/>
          <a:cs typeface="+mj-cs"/>
        </a:defRPr>
      </a:lvl1pPr>
      <a:lvl2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2pPr>
      <a:lvl3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3pPr>
      <a:lvl4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4pPr>
      <a:lvl5pPr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5pPr>
      <a:lvl6pPr marL="4572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6pPr>
      <a:lvl7pPr marL="9144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7pPr>
      <a:lvl8pPr marL="13716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8pPr>
      <a:lvl9pPr marL="1828800" algn="ctr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E60028"/>
          </a:solidFill>
          <a:latin typeface="Arial" pitchFamily="34" charset="0"/>
          <a:cs typeface="Arial" pitchFamily="34" charset="0"/>
        </a:defRPr>
      </a:lvl9pPr>
    </p:titleStyle>
    <p:bodyStyle>
      <a:lvl1pPr marL="4763" indent="-4763" algn="ctr" rtl="0" fontAlgn="base">
        <a:lnSpc>
          <a:spcPct val="90000"/>
        </a:lnSpc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defRPr sz="3000">
          <a:solidFill>
            <a:srgbClr val="000000"/>
          </a:solidFill>
          <a:latin typeface="+mn-lt"/>
          <a:ea typeface="+mn-ea"/>
          <a:cs typeface="+mn-cs"/>
        </a:defRPr>
      </a:lvl1pPr>
      <a:lvl2pPr marL="11113" indent="-4763" algn="ctr" rtl="0" fontAlgn="base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000000"/>
          </a:solidFill>
          <a:latin typeface="+mn-lt"/>
          <a:cs typeface="+mn-cs"/>
        </a:defRPr>
      </a:lvl2pPr>
      <a:lvl3pPr marL="14288" indent="-1588" algn="ctr" rtl="0" fontAlgn="base">
        <a:lnSpc>
          <a:spcPct val="90000"/>
        </a:lnSpc>
        <a:spcBef>
          <a:spcPct val="0"/>
        </a:spcBef>
        <a:spcAft>
          <a:spcPct val="0"/>
        </a:spcAft>
        <a:buFont typeface="Wingdings" pitchFamily="2" charset="2"/>
        <a:defRPr sz="1400">
          <a:solidFill>
            <a:srgbClr val="000000"/>
          </a:solidFill>
          <a:latin typeface="+mn-lt"/>
          <a:cs typeface="+mn-cs"/>
        </a:defRPr>
      </a:lvl3pPr>
      <a:lvl4pPr marL="19050" indent="-3175" algn="ctr" rtl="0" fontAlgn="base">
        <a:lnSpc>
          <a:spcPct val="90000"/>
        </a:lnSpc>
        <a:spcBef>
          <a:spcPct val="0"/>
        </a:spcBef>
        <a:spcAft>
          <a:spcPct val="0"/>
        </a:spcAft>
        <a:defRPr sz="1200">
          <a:solidFill>
            <a:srgbClr val="000000"/>
          </a:solidFill>
          <a:latin typeface="+mn-lt"/>
          <a:cs typeface="+mn-cs"/>
        </a:defRPr>
      </a:lvl4pPr>
      <a:lvl5pPr marL="238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5pPr>
      <a:lvl6pPr marL="4810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6pPr>
      <a:lvl7pPr marL="9382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7pPr>
      <a:lvl8pPr marL="13954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8pPr>
      <a:lvl9pPr marL="1852613" indent="-3175" algn="ctr" rtl="0" fontAlgn="base">
        <a:lnSpc>
          <a:spcPct val="90000"/>
        </a:lnSpc>
        <a:spcBef>
          <a:spcPct val="0"/>
        </a:spcBef>
        <a:spcAft>
          <a:spcPct val="0"/>
        </a:spcAft>
        <a:buFont typeface="Arial" pitchFamily="34" charset="0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svg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10" Type="http://schemas.openxmlformats.org/officeDocument/2006/relationships/image" Target="../media/image141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svg"/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11" Type="http://schemas.openxmlformats.org/officeDocument/2006/relationships/image" Target="../media/image7.jpg"/><Relationship Id="rId5" Type="http://schemas.openxmlformats.org/officeDocument/2006/relationships/image" Target="../media/image4.emf"/><Relationship Id="rId10" Type="http://schemas.openxmlformats.org/officeDocument/2006/relationships/image" Target="../media/image141.svg"/><Relationship Id="rId4" Type="http://schemas.openxmlformats.org/officeDocument/2006/relationships/oleObject" Target="../embeddings/oleObject7.bin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xfs07\Sinteza%20Lunara\Budget%202021\AGA\AGA%202021%20new.xlsx!Sheet1!R21C5:R31C12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9.emf"/><Relationship Id="rId5" Type="http://schemas.openxmlformats.org/officeDocument/2006/relationships/notesSlide" Target="../notesSlides/notesSlide3.xml"/><Relationship Id="rId10" Type="http://schemas.openxmlformats.org/officeDocument/2006/relationships/oleObject" Target="file:///\\xfs07\Sinteza%20Lunara\Budget%202021\AGA\AGA%202021%20new.xlsx!Sheet1!R20C15:R33C22" TargetMode="Externa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3.xml"/><Relationship Id="rId7" Type="http://schemas.openxmlformats.org/officeDocument/2006/relationships/oleObject" Target="file:///\\xfs07\Sinteza%20Lunara\Budget%202021\AGA\AGA%202021%20PL.xlsx!rezultate%20rom%20!R3C1:R15C10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3192574" y="3651572"/>
            <a:ext cx="2999659" cy="418952"/>
          </a:xfrm>
          <a:prstGeom prst="rect">
            <a:avLst/>
          </a:prstGeom>
          <a:noFill/>
        </p:spPr>
        <p:txBody>
          <a:bodyPr vert="horz" wrap="none" lIns="36000" tIns="36000" rIns="36000" bIns="36000" rtlCol="0" anchor="ctr">
            <a:spAutoFit/>
          </a:bodyPr>
          <a:lstStyle>
            <a:lvl1pPr marL="0" algn="ctr" defTabSz="84417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GB" sz="2216" b="1" kern="1200" cap="all" spc="258" baseline="0" noProof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 dirty="0" smtClean="0">
                <a:solidFill>
                  <a:srgbClr val="000000"/>
                </a:solidFill>
              </a:rPr>
              <a:t/>
            </a:r>
            <a:br>
              <a:rPr lang="en-US" sz="1600" dirty="0" smtClean="0">
                <a:solidFill>
                  <a:srgbClr val="000000"/>
                </a:solidFill>
              </a:rPr>
            </a:br>
            <a:r>
              <a:rPr lang="en-US" sz="900" dirty="0" smtClean="0">
                <a:solidFill>
                  <a:srgbClr val="000000"/>
                </a:solidFill>
              </a:rPr>
              <a:t>BRD CONSOLIDAT, conform IFRS</a:t>
            </a:r>
            <a:endParaRPr lang="fr-FR" sz="900" dirty="0">
              <a:solidFill>
                <a:srgbClr val="000000"/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3563888" y="4869160"/>
            <a:ext cx="1674918" cy="214730"/>
          </a:xfrm>
          <a:prstGeom prst="rect">
            <a:avLst/>
          </a:prstGeom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 algn="ctr" defTabSz="844174">
              <a:spcBef>
                <a:spcPts val="0"/>
              </a:spcBef>
              <a:buNone/>
            </a:pPr>
            <a:r>
              <a:rPr lang="en-US" sz="923" cap="all" spc="185" dirty="0" err="1" smtClean="0">
                <a:solidFill>
                  <a:schemeClr val="tx1"/>
                </a:solidFill>
              </a:rPr>
              <a:t>Aprilie</a:t>
            </a:r>
            <a:r>
              <a:rPr lang="en-US" sz="923" cap="all" spc="185" dirty="0" smtClean="0">
                <a:solidFill>
                  <a:schemeClr val="tx1"/>
                </a:solidFill>
              </a:rPr>
              <a:t> 2021</a:t>
            </a:r>
            <a:endParaRPr lang="en-US" sz="923" cap="all" spc="185" dirty="0">
              <a:solidFill>
                <a:schemeClr val="tx1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ctrTitle"/>
          </p:nvPr>
        </p:nvSpPr>
        <p:spPr>
          <a:xfrm>
            <a:off x="539552" y="1372099"/>
            <a:ext cx="8002377" cy="2488949"/>
          </a:xfrm>
        </p:spPr>
        <p:txBody>
          <a:bodyPr/>
          <a:lstStyle/>
          <a:p>
            <a:r>
              <a:rPr lang="en-US" sz="3600" dirty="0" smtClean="0"/>
              <a:t>BRD GRUP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err="1" smtClean="0">
                <a:solidFill>
                  <a:srgbClr val="000000"/>
                </a:solidFill>
              </a:rPr>
              <a:t>Buget</a:t>
            </a:r>
            <a:r>
              <a:rPr lang="en-US" sz="3200" dirty="0" smtClean="0">
                <a:solidFill>
                  <a:srgbClr val="000000"/>
                </a:solidFill>
              </a:rPr>
              <a:t> 2021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2652551" y="3501008"/>
            <a:ext cx="4079689" cy="360040"/>
          </a:xfrm>
          <a:prstGeom prst="rect">
            <a:avLst/>
          </a:prstGeom>
          <a:solidFill>
            <a:srgbClr val="E60028"/>
          </a:solidFill>
        </p:spPr>
        <p:txBody>
          <a:bodyPr/>
          <a:lstStyle>
            <a:lvl1pPr marL="180975" indent="-180975" algn="l" rtl="0" fontAlgn="base">
              <a:spcBef>
                <a:spcPct val="100000"/>
              </a:spcBef>
              <a:spcAft>
                <a:spcPct val="0"/>
              </a:spcAft>
              <a:buClr>
                <a:srgbClr val="666666"/>
              </a:buClr>
              <a:buFont typeface="Wingdings" pitchFamily="2" charset="2"/>
              <a:buChar char="§"/>
              <a:defRPr sz="16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spcBef>
                <a:spcPct val="50000"/>
              </a:spcBef>
              <a:spcAft>
                <a:spcPct val="0"/>
              </a:spcAft>
              <a:buChar char="•"/>
              <a:defRPr sz="1300">
                <a:solidFill>
                  <a:srgbClr val="000000"/>
                </a:solidFill>
                <a:latin typeface="+mn-lt"/>
                <a:cs typeface="+mn-cs"/>
              </a:defRPr>
            </a:lvl2pPr>
            <a:lvl3pPr marL="542925" indent="-180975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▫"/>
              <a:defRPr sz="1100">
                <a:solidFill>
                  <a:srgbClr val="000000"/>
                </a:solidFill>
                <a:latin typeface="+mn-lt"/>
                <a:cs typeface="+mn-cs"/>
              </a:defRPr>
            </a:lvl3pPr>
            <a:lvl4pPr marL="723900" indent="-17938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-"/>
              <a:defRPr sz="900">
                <a:solidFill>
                  <a:srgbClr val="000000"/>
                </a:solidFill>
                <a:latin typeface="+mn-lt"/>
                <a:cs typeface="+mn-cs"/>
              </a:defRPr>
            </a:lvl4pPr>
            <a:lvl5pPr marL="8858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5pPr>
            <a:lvl6pPr marL="13430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6pPr>
            <a:lvl7pPr marL="18002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7pPr>
            <a:lvl8pPr marL="22574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8pPr>
            <a:lvl9pPr marL="2714625" indent="-160338" algn="l" rtl="0" fontAlgn="base">
              <a:spcBef>
                <a:spcPct val="50000"/>
              </a:spcBef>
              <a:spcAft>
                <a:spcPct val="0"/>
              </a:spcAft>
              <a:buFont typeface="Arial" pitchFamily="34" charset="0"/>
              <a:buChar char="."/>
              <a:defRPr sz="900">
                <a:solidFill>
                  <a:srgbClr val="000000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    </a:t>
            </a:r>
            <a:r>
              <a:rPr lang="en-US" kern="0" dirty="0" err="1" smtClean="0">
                <a:solidFill>
                  <a:schemeClr val="bg1"/>
                </a:solidFill>
              </a:rPr>
              <a:t>Adunarea</a:t>
            </a:r>
            <a:r>
              <a:rPr lang="en-US" kern="0" dirty="0" smtClean="0">
                <a:solidFill>
                  <a:schemeClr val="bg1"/>
                </a:solidFill>
              </a:rPr>
              <a:t> </a:t>
            </a:r>
            <a:r>
              <a:rPr lang="en-US" kern="0" dirty="0" err="1">
                <a:solidFill>
                  <a:schemeClr val="bg1"/>
                </a:solidFill>
              </a:rPr>
              <a:t>G</a:t>
            </a:r>
            <a:r>
              <a:rPr lang="en-US" kern="0" dirty="0" err="1" smtClean="0">
                <a:solidFill>
                  <a:schemeClr val="bg1"/>
                </a:solidFill>
              </a:rPr>
              <a:t>enerala</a:t>
            </a:r>
            <a:r>
              <a:rPr lang="en-US" kern="0" dirty="0" smtClean="0">
                <a:solidFill>
                  <a:schemeClr val="bg1"/>
                </a:solidFill>
              </a:rPr>
              <a:t> a </a:t>
            </a:r>
            <a:r>
              <a:rPr lang="en-US" kern="0" dirty="0" err="1">
                <a:solidFill>
                  <a:schemeClr val="bg1"/>
                </a:solidFill>
              </a:rPr>
              <a:t>A</a:t>
            </a:r>
            <a:r>
              <a:rPr lang="en-US" kern="0" dirty="0" err="1" smtClean="0">
                <a:solidFill>
                  <a:schemeClr val="bg1"/>
                </a:solidFill>
              </a:rPr>
              <a:t>ctionarilor</a:t>
            </a:r>
            <a:endParaRPr lang="en-US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621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/>
          <a:p>
            <a:r>
              <a:rPr lang="fr-FR" smtClean="0">
                <a:latin typeface="Arial" charset="0"/>
                <a:cs typeface="Arial" charset="0"/>
              </a:rPr>
              <a:t>P.</a:t>
            </a:r>
            <a:fld id="{98AA2FFE-D0A9-468C-B487-D98853210D43}" type="slidenum">
              <a:rPr lang="fr-FR" smtClean="0">
                <a:latin typeface="Arial" charset="0"/>
                <a:cs typeface="Arial" charset="0"/>
              </a:rPr>
              <a:pPr/>
              <a:t>2</a:t>
            </a:fld>
            <a:endParaRPr lang="fr-FR" smtClean="0">
              <a:latin typeface="Arial" charset="0"/>
              <a:cs typeface="Arial" charset="0"/>
            </a:endParaRPr>
          </a:p>
        </p:txBody>
      </p:sp>
      <p:sp>
        <p:nvSpPr>
          <p:cNvPr id="8195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/>
              <a:t>P.</a:t>
            </a:r>
            <a:fld id="{3454F227-AACF-4393-816D-DC412C15EB49}" type="slidenum">
              <a:rPr lang="en-GB" sz="800" b="1"/>
              <a:pPr algn="r"/>
              <a:t>2</a:t>
            </a:fld>
            <a:endParaRPr lang="en-GB" sz="800" b="1"/>
          </a:p>
        </p:txBody>
      </p:sp>
      <p:sp>
        <p:nvSpPr>
          <p:cNvPr id="8199" name="Rectangle 13"/>
          <p:cNvSpPr>
            <a:spLocks noChangeArrowheads="1"/>
          </p:cNvSpPr>
          <p:nvPr/>
        </p:nvSpPr>
        <p:spPr bwMode="gray">
          <a:xfrm>
            <a:off x="388938" y="298450"/>
            <a:ext cx="677545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l"/>
            <a:r>
              <a:rPr lang="en-GB" b="1" dirty="0" smtClean="0">
                <a:solidFill>
                  <a:schemeClr val="tx1"/>
                </a:solidFill>
              </a:rPr>
              <a:t>MEDIUL MACROECONOMIC SI BANCAR</a:t>
            </a:r>
          </a:p>
        </p:txBody>
      </p:sp>
      <p:sp>
        <p:nvSpPr>
          <p:cNvPr id="31" name="Rectangle 30"/>
          <p:cNvSpPr/>
          <p:nvPr/>
        </p:nvSpPr>
        <p:spPr>
          <a:xfrm>
            <a:off x="228888" y="845128"/>
            <a:ext cx="3744417" cy="338554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/>
            <a:r>
              <a:rPr lang="en-US" sz="1600" b="1" dirty="0" err="1" smtClean="0">
                <a:solidFill>
                  <a:schemeClr val="bg1"/>
                </a:solidFill>
              </a:rPr>
              <a:t>Mediul</a:t>
            </a:r>
            <a:r>
              <a:rPr lang="en-US" sz="1600" b="1" dirty="0" smtClean="0">
                <a:solidFill>
                  <a:schemeClr val="bg1"/>
                </a:solidFill>
              </a:rPr>
              <a:t> economic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28888" y="1285611"/>
            <a:ext cx="8729562" cy="22518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737373"/>
            </a:solidFill>
          </a:ln>
        </p:spPr>
        <p:txBody>
          <a:bodyPr wrap="square">
            <a:spAutoFit/>
          </a:bodyPr>
          <a:lstStyle/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smtClean="0"/>
              <a:t>Criza Covid-19 a </a:t>
            </a:r>
            <a:r>
              <a:rPr lang="en-US" sz="1100" b="1" dirty="0" err="1" smtClean="0"/>
              <a:t>incheiat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brusc</a:t>
            </a:r>
            <a:r>
              <a:rPr lang="en-US" sz="1100" b="1" dirty="0" smtClean="0"/>
              <a:t> un </a:t>
            </a:r>
            <a:r>
              <a:rPr lang="en-US" sz="1100" b="1" dirty="0" err="1" smtClean="0"/>
              <a:t>ciclu</a:t>
            </a:r>
            <a:r>
              <a:rPr lang="en-US" sz="1100" b="1" dirty="0" smtClean="0"/>
              <a:t> expansionist de 9 </a:t>
            </a:r>
            <a:r>
              <a:rPr lang="en-US" sz="1100" b="1" dirty="0" err="1" smtClean="0"/>
              <a:t>ani</a:t>
            </a:r>
            <a:r>
              <a:rPr lang="en-US" sz="1100" b="1" dirty="0" smtClean="0"/>
              <a:t>. Desi initial se </a:t>
            </a:r>
            <a:r>
              <a:rPr lang="en-US" sz="1100" b="1" dirty="0" err="1" smtClean="0"/>
              <a:t>estima</a:t>
            </a:r>
            <a:r>
              <a:rPr lang="en-US" sz="1100" b="1" dirty="0" smtClean="0"/>
              <a:t> o </a:t>
            </a:r>
            <a:r>
              <a:rPr lang="en-US" sz="1100" b="1" dirty="0" err="1" smtClean="0"/>
              <a:t>scadere</a:t>
            </a:r>
            <a:r>
              <a:rPr lang="en-US" sz="1100" b="1" dirty="0"/>
              <a:t> </a:t>
            </a:r>
            <a:r>
              <a:rPr lang="en-US" sz="1100" b="1" dirty="0" smtClean="0"/>
              <a:t>cu </a:t>
            </a:r>
            <a:r>
              <a:rPr lang="en-US" sz="1100" b="1" dirty="0" err="1"/>
              <a:t>aproximativ</a:t>
            </a:r>
            <a:r>
              <a:rPr lang="en-US" sz="1100" b="1" dirty="0"/>
              <a:t> </a:t>
            </a:r>
            <a:r>
              <a:rPr lang="en-US" sz="1100" b="1" dirty="0" smtClean="0"/>
              <a:t>6% in </a:t>
            </a:r>
            <a:r>
              <a:rPr lang="en-US" sz="1100" b="1" dirty="0" err="1" smtClean="0"/>
              <a:t>contextul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crizei</a:t>
            </a:r>
            <a:r>
              <a:rPr lang="en-US" sz="1100" b="1" dirty="0"/>
              <a:t>, </a:t>
            </a:r>
            <a:r>
              <a:rPr lang="en-US" sz="1100" b="1" dirty="0" smtClean="0"/>
              <a:t>PIB-</a:t>
            </a:r>
            <a:r>
              <a:rPr lang="en-US" sz="1100" b="1" dirty="0" err="1" smtClean="0"/>
              <a:t>ul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Romaniei</a:t>
            </a:r>
            <a:r>
              <a:rPr lang="en-US" sz="1100" b="1" dirty="0" smtClean="0"/>
              <a:t> s-a </a:t>
            </a:r>
            <a:r>
              <a:rPr lang="en-US" sz="1100" b="1" dirty="0" err="1"/>
              <a:t>contractat</a:t>
            </a:r>
            <a:r>
              <a:rPr lang="en-US" sz="1100" b="1" dirty="0"/>
              <a:t> cu 3,9% in </a:t>
            </a:r>
            <a:r>
              <a:rPr lang="en-US" sz="1100" b="1" dirty="0" smtClean="0"/>
              <a:t>2020. </a:t>
            </a:r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err="1" smtClean="0"/>
              <a:t>Pe</a:t>
            </a:r>
            <a:r>
              <a:rPr lang="en-US" sz="1100" b="1" dirty="0" smtClean="0"/>
              <a:t> </a:t>
            </a:r>
            <a:r>
              <a:rPr lang="en-US" sz="1100" b="1" dirty="0" err="1"/>
              <a:t>viitor</a:t>
            </a:r>
            <a:r>
              <a:rPr lang="en-US" sz="1100" b="1" dirty="0"/>
              <a:t>, </a:t>
            </a:r>
            <a:r>
              <a:rPr lang="en-US" sz="1100" b="1" dirty="0" err="1" smtClean="0"/>
              <a:t>relansare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economic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v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depinde</a:t>
            </a:r>
            <a:r>
              <a:rPr lang="en-US" sz="1100" b="1" dirty="0" smtClean="0"/>
              <a:t> in mod </a:t>
            </a:r>
            <a:r>
              <a:rPr lang="en-US" sz="1100" b="1" dirty="0" err="1" smtClean="0"/>
              <a:t>semnificativ</a:t>
            </a:r>
            <a:r>
              <a:rPr lang="en-US" sz="1100" b="1" dirty="0" smtClean="0"/>
              <a:t> de </a:t>
            </a:r>
            <a:r>
              <a:rPr lang="en-US" sz="1100" b="1" dirty="0" err="1" smtClean="0"/>
              <a:t>cursul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pandemiei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i</a:t>
            </a:r>
            <a:r>
              <a:rPr lang="en-US" sz="1100" b="1" dirty="0" smtClean="0"/>
              <a:t> de </a:t>
            </a:r>
            <a:r>
              <a:rPr lang="en-US" sz="1100" b="1" dirty="0" err="1" smtClean="0"/>
              <a:t>executia</a:t>
            </a:r>
            <a:r>
              <a:rPr lang="en-US" sz="1100" b="1" dirty="0" smtClean="0"/>
              <a:t> </a:t>
            </a:r>
            <a:r>
              <a:rPr lang="en-US" sz="1100" b="1" dirty="0" err="1"/>
              <a:t>programelor</a:t>
            </a:r>
            <a:r>
              <a:rPr lang="en-US" sz="1100" b="1" dirty="0"/>
              <a:t> de </a:t>
            </a:r>
            <a:r>
              <a:rPr lang="en-US" sz="1100" b="1" dirty="0" err="1"/>
              <a:t>relansare</a:t>
            </a:r>
            <a:r>
              <a:rPr lang="en-US" sz="1100" b="1" dirty="0"/>
              <a:t> </a:t>
            </a:r>
            <a:r>
              <a:rPr lang="en-US" sz="1100" b="1" dirty="0" err="1" smtClean="0"/>
              <a:t>economic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adoptate</a:t>
            </a:r>
            <a:r>
              <a:rPr lang="en-US" sz="1100" b="1" dirty="0" smtClean="0"/>
              <a:t> de </a:t>
            </a:r>
            <a:r>
              <a:rPr lang="en-US" sz="1100" b="1" dirty="0" err="1" smtClean="0"/>
              <a:t>autoritati</a:t>
            </a:r>
            <a:r>
              <a:rPr lang="en-US" sz="1100" b="1" dirty="0" smtClean="0"/>
              <a:t>. </a:t>
            </a:r>
            <a:endParaRPr lang="en-US" sz="1100" b="1" dirty="0"/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err="1"/>
              <a:t>Fondurile</a:t>
            </a:r>
            <a:r>
              <a:rPr lang="en-US" sz="1100" b="1" dirty="0"/>
              <a:t> UE </a:t>
            </a:r>
            <a:r>
              <a:rPr lang="en-US" sz="1100" b="1" dirty="0" err="1"/>
              <a:t>reprezinta</a:t>
            </a:r>
            <a:r>
              <a:rPr lang="en-US" sz="1100" b="1" dirty="0"/>
              <a:t> un potential </a:t>
            </a:r>
            <a:r>
              <a:rPr lang="en-US" sz="1100" b="1" dirty="0" err="1"/>
              <a:t>catalizator</a:t>
            </a:r>
            <a:r>
              <a:rPr lang="en-US" sz="1100" b="1" dirty="0"/>
              <a:t> </a:t>
            </a:r>
            <a:r>
              <a:rPr lang="en-US" sz="1100" b="1" dirty="0" err="1"/>
              <a:t>pentru</a:t>
            </a:r>
            <a:r>
              <a:rPr lang="en-US" sz="1100" b="1" dirty="0"/>
              <a:t> </a:t>
            </a:r>
            <a:r>
              <a:rPr lang="en-US" sz="1100" b="1" dirty="0" err="1"/>
              <a:t>redresarea</a:t>
            </a:r>
            <a:r>
              <a:rPr lang="en-US" sz="1100" b="1" dirty="0"/>
              <a:t> </a:t>
            </a:r>
            <a:r>
              <a:rPr lang="en-US" sz="1100" b="1" dirty="0" err="1"/>
              <a:t>economica</a:t>
            </a:r>
            <a:r>
              <a:rPr lang="en-US" sz="1100" b="1" dirty="0"/>
              <a:t>. </a:t>
            </a:r>
            <a:r>
              <a:rPr lang="en-US" sz="1100" b="1" dirty="0" err="1"/>
              <a:t>Romaniei</a:t>
            </a:r>
            <a:r>
              <a:rPr lang="en-US" sz="1100" b="1" dirty="0"/>
              <a:t> </a:t>
            </a:r>
            <a:r>
              <a:rPr lang="en-US" sz="1100" b="1" dirty="0" err="1"/>
              <a:t>i</a:t>
            </a:r>
            <a:r>
              <a:rPr lang="en-US" sz="1100" b="1" dirty="0"/>
              <a:t> s-au </a:t>
            </a:r>
            <a:r>
              <a:rPr lang="en-US" sz="1100" b="1" dirty="0" err="1"/>
              <a:t>alocat</a:t>
            </a:r>
            <a:r>
              <a:rPr lang="en-US" sz="1100" b="1" dirty="0"/>
              <a:t> </a:t>
            </a:r>
            <a:r>
              <a:rPr lang="en-US" sz="1100" b="1" dirty="0" smtClean="0"/>
              <a:t>80 </a:t>
            </a:r>
            <a:r>
              <a:rPr lang="en-US" sz="1100" b="1" dirty="0" err="1"/>
              <a:t>miliarde</a:t>
            </a:r>
            <a:r>
              <a:rPr lang="en-US" sz="1100" b="1" dirty="0"/>
              <a:t> EUR </a:t>
            </a:r>
            <a:r>
              <a:rPr lang="en-US" sz="1100" b="1" dirty="0" err="1"/>
              <a:t>pentru</a:t>
            </a:r>
            <a:r>
              <a:rPr lang="en-US" sz="1100" b="1" dirty="0"/>
              <a:t> </a:t>
            </a:r>
            <a:r>
              <a:rPr lang="en-US" sz="1100" b="1" dirty="0" err="1"/>
              <a:t>perioada</a:t>
            </a:r>
            <a:r>
              <a:rPr lang="en-US" sz="1100" b="1" dirty="0"/>
              <a:t> 2021-2027. </a:t>
            </a:r>
            <a:endParaRPr lang="en-US" sz="1100" b="1" dirty="0" smtClean="0"/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err="1"/>
              <a:t>Pentru</a:t>
            </a:r>
            <a:r>
              <a:rPr lang="en-US" sz="1100" b="1" dirty="0"/>
              <a:t> 2021, </a:t>
            </a:r>
            <a:r>
              <a:rPr lang="ro-RO" sz="1100" b="1" dirty="0"/>
              <a:t>ritmul creșterii economice va fi condiționat de o normalizare treptată a situației pandemice în urma succesului campaniilor de vaccinare</a:t>
            </a:r>
            <a:r>
              <a:rPr lang="en-US" sz="1100" b="1" dirty="0"/>
              <a:t>, de o </a:t>
            </a:r>
            <a:r>
              <a:rPr lang="en-US" sz="1100" b="1" dirty="0" err="1"/>
              <a:t>revigorare</a:t>
            </a:r>
            <a:r>
              <a:rPr lang="en-US" sz="1100" b="1" dirty="0"/>
              <a:t> a </a:t>
            </a:r>
            <a:r>
              <a:rPr lang="en-US" sz="1100" b="1" dirty="0" err="1"/>
              <a:t>activitatii</a:t>
            </a:r>
            <a:r>
              <a:rPr lang="en-US" sz="1100" b="1" dirty="0"/>
              <a:t> </a:t>
            </a:r>
            <a:r>
              <a:rPr lang="en-US" sz="1100" b="1" dirty="0" err="1"/>
              <a:t>economice</a:t>
            </a:r>
            <a:r>
              <a:rPr lang="en-US" sz="1100" b="1" dirty="0"/>
              <a:t> </a:t>
            </a:r>
            <a:r>
              <a:rPr lang="en-US" sz="1100" b="1" dirty="0" err="1" smtClean="0"/>
              <a:t>extern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i</a:t>
            </a:r>
            <a:r>
              <a:rPr lang="en-US" sz="1100" b="1" dirty="0" smtClean="0"/>
              <a:t> </a:t>
            </a:r>
            <a:r>
              <a:rPr lang="en-US" sz="1100" b="1" dirty="0" err="1"/>
              <a:t>imbunatatirea</a:t>
            </a:r>
            <a:r>
              <a:rPr lang="en-US" sz="1100" b="1" dirty="0"/>
              <a:t> </a:t>
            </a:r>
            <a:r>
              <a:rPr lang="en-US" sz="1100" b="1" dirty="0" err="1"/>
              <a:t>perspectivei</a:t>
            </a:r>
            <a:r>
              <a:rPr lang="en-US" sz="1100" b="1" dirty="0"/>
              <a:t> </a:t>
            </a:r>
            <a:r>
              <a:rPr lang="en-US" sz="1100" b="1" dirty="0" err="1"/>
              <a:t>pentru</a:t>
            </a:r>
            <a:r>
              <a:rPr lang="en-US" sz="1100" b="1" dirty="0"/>
              <a:t> </a:t>
            </a:r>
            <a:r>
              <a:rPr lang="en-US" sz="1100" b="1" dirty="0" err="1"/>
              <a:t>cererea</a:t>
            </a:r>
            <a:r>
              <a:rPr lang="en-US" sz="1100" b="1" dirty="0"/>
              <a:t> </a:t>
            </a:r>
            <a:r>
              <a:rPr lang="en-US" sz="1100" b="1" dirty="0" err="1"/>
              <a:t>interna</a:t>
            </a:r>
            <a:r>
              <a:rPr lang="en-US" sz="1100" b="1" dirty="0"/>
              <a:t>.</a:t>
            </a:r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GB" sz="1100" b="1" dirty="0" err="1" smtClean="0"/>
              <a:t>Pentru</a:t>
            </a:r>
            <a:r>
              <a:rPr lang="en-GB" sz="1100" b="1" dirty="0" smtClean="0"/>
              <a:t> </a:t>
            </a:r>
            <a:r>
              <a:rPr lang="en-GB" sz="1100" b="1" dirty="0"/>
              <a:t>a </a:t>
            </a:r>
            <a:r>
              <a:rPr lang="en-GB" sz="1100" b="1" dirty="0" err="1"/>
              <a:t>sprijini</a:t>
            </a:r>
            <a:r>
              <a:rPr lang="en-GB" sz="1100" b="1" dirty="0"/>
              <a:t> </a:t>
            </a:r>
            <a:r>
              <a:rPr lang="en-GB" sz="1100" b="1" dirty="0" err="1"/>
              <a:t>economia</a:t>
            </a:r>
            <a:r>
              <a:rPr lang="en-GB" sz="1100" b="1" dirty="0"/>
              <a:t> in </a:t>
            </a:r>
            <a:r>
              <a:rPr lang="en-GB" sz="1100" b="1" dirty="0" err="1"/>
              <a:t>contextul</a:t>
            </a:r>
            <a:r>
              <a:rPr lang="en-GB" sz="1100" b="1" dirty="0"/>
              <a:t> </a:t>
            </a:r>
            <a:r>
              <a:rPr lang="en-GB" sz="1100" b="1" dirty="0" err="1"/>
              <a:t>evolutiei</a:t>
            </a:r>
            <a:r>
              <a:rPr lang="en-GB" sz="1100" b="1" dirty="0"/>
              <a:t> </a:t>
            </a:r>
            <a:r>
              <a:rPr lang="en-GB" sz="1100" b="1" dirty="0" err="1"/>
              <a:t>epidemiei</a:t>
            </a:r>
            <a:r>
              <a:rPr lang="en-GB" sz="1100" b="1" dirty="0"/>
              <a:t> COVID 19, </a:t>
            </a:r>
            <a:r>
              <a:rPr lang="en-GB" sz="1100" b="1" dirty="0" err="1"/>
              <a:t>banca</a:t>
            </a:r>
            <a:r>
              <a:rPr lang="en-GB" sz="1100" b="1" dirty="0"/>
              <a:t> </a:t>
            </a:r>
            <a:r>
              <a:rPr lang="en-GB" sz="1100" b="1" dirty="0" err="1"/>
              <a:t>centrala</a:t>
            </a:r>
            <a:r>
              <a:rPr lang="en-GB" sz="1100" b="1" dirty="0"/>
              <a:t> a </a:t>
            </a:r>
            <a:r>
              <a:rPr lang="en-GB" sz="1100" b="1" dirty="0" err="1"/>
              <a:t>redus</a:t>
            </a:r>
            <a:r>
              <a:rPr lang="en-GB" sz="1100" b="1" dirty="0"/>
              <a:t> rata de </a:t>
            </a:r>
            <a:r>
              <a:rPr lang="en-GB" sz="1100" b="1" dirty="0" err="1"/>
              <a:t>politica</a:t>
            </a:r>
            <a:r>
              <a:rPr lang="en-GB" sz="1100" b="1" dirty="0"/>
              <a:t> </a:t>
            </a:r>
            <a:r>
              <a:rPr lang="en-GB" sz="1100" b="1" dirty="0" err="1"/>
              <a:t>monetara</a:t>
            </a:r>
            <a:r>
              <a:rPr lang="en-GB" sz="1100" b="1" dirty="0"/>
              <a:t> de </a:t>
            </a:r>
            <a:r>
              <a:rPr lang="en-GB" sz="1100" b="1" dirty="0" err="1" smtClean="0"/>
              <a:t>patru</a:t>
            </a:r>
            <a:r>
              <a:rPr lang="en-GB" sz="1100" b="1" dirty="0" smtClean="0"/>
              <a:t> </a:t>
            </a:r>
            <a:r>
              <a:rPr lang="en-GB" sz="1100" b="1" dirty="0" err="1"/>
              <a:t>ori</a:t>
            </a:r>
            <a:r>
              <a:rPr lang="en-GB" sz="1100" b="1" dirty="0"/>
              <a:t> in 2020 </a:t>
            </a:r>
            <a:r>
              <a:rPr lang="en-GB" sz="1100" b="1" dirty="0" smtClean="0"/>
              <a:t>cu 125 </a:t>
            </a:r>
            <a:r>
              <a:rPr lang="en-GB" sz="1100" b="1" dirty="0"/>
              <a:t>de </a:t>
            </a:r>
            <a:r>
              <a:rPr lang="en-GB" sz="1100" b="1" dirty="0" err="1"/>
              <a:t>puncte</a:t>
            </a:r>
            <a:r>
              <a:rPr lang="en-GB" sz="1100" b="1" dirty="0"/>
              <a:t> de </a:t>
            </a:r>
            <a:r>
              <a:rPr lang="en-GB" sz="1100" b="1" dirty="0" err="1" smtClean="0"/>
              <a:t>baza</a:t>
            </a:r>
            <a:r>
              <a:rPr lang="en-GB" sz="1100" b="1" dirty="0" smtClean="0"/>
              <a:t> in </a:t>
            </a:r>
            <a:r>
              <a:rPr lang="en-GB" sz="1100" b="1" dirty="0"/>
              <a:t>total , la </a:t>
            </a:r>
            <a:r>
              <a:rPr lang="en-GB" sz="1100" b="1" dirty="0" smtClean="0"/>
              <a:t>1,25%. </a:t>
            </a:r>
            <a:endParaRPr lang="en-GB" sz="1100" b="1" dirty="0"/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smtClean="0"/>
              <a:t>Dar </a:t>
            </a:r>
            <a:r>
              <a:rPr lang="en-US" sz="1100" b="1" dirty="0" err="1" smtClean="0"/>
              <a:t>ratel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interbancar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unt</a:t>
            </a:r>
            <a:r>
              <a:rPr lang="en-US" sz="1100" b="1" dirty="0" smtClean="0"/>
              <a:t> in </a:t>
            </a:r>
            <a:r>
              <a:rPr lang="en-US" sz="1100" b="1" dirty="0" err="1" smtClean="0"/>
              <a:t>prezent</a:t>
            </a:r>
            <a:r>
              <a:rPr lang="en-US" sz="1100" b="1" dirty="0" smtClean="0"/>
              <a:t> in </a:t>
            </a:r>
            <a:r>
              <a:rPr lang="en-US" sz="1100" b="1" dirty="0" err="1" smtClean="0"/>
              <a:t>crestere</a:t>
            </a:r>
            <a:r>
              <a:rPr lang="en-US" sz="1100" b="1" dirty="0" smtClean="0"/>
              <a:t>, determinate de </a:t>
            </a:r>
            <a:r>
              <a:rPr lang="en-US" sz="1100" b="1" dirty="0" err="1" smtClean="0"/>
              <a:t>majorare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inflatiei</a:t>
            </a:r>
            <a:r>
              <a:rPr lang="en-US" sz="1100" b="1" dirty="0" smtClean="0"/>
              <a:t> la </a:t>
            </a:r>
            <a:r>
              <a:rPr lang="en-US" sz="1100" b="1" dirty="0" err="1" smtClean="0"/>
              <a:t>inceputul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anului</a:t>
            </a:r>
            <a:r>
              <a:rPr lang="en-US" sz="1100" b="1" dirty="0" smtClean="0"/>
              <a:t> 2021. </a:t>
            </a:r>
            <a:endParaRPr lang="en-US" sz="1100" b="1" dirty="0"/>
          </a:p>
        </p:txBody>
      </p:sp>
      <p:sp>
        <p:nvSpPr>
          <p:cNvPr id="34" name="Rectangle 33"/>
          <p:cNvSpPr/>
          <p:nvPr/>
        </p:nvSpPr>
        <p:spPr>
          <a:xfrm>
            <a:off x="228887" y="3810526"/>
            <a:ext cx="3744417" cy="338554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/>
            <a:r>
              <a:rPr lang="en-US" sz="1600" b="1" dirty="0" err="1" smtClean="0">
                <a:solidFill>
                  <a:schemeClr val="bg1"/>
                </a:solidFill>
              </a:rPr>
              <a:t>Mediul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</a:rPr>
              <a:t>bancar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04756" y="4205600"/>
            <a:ext cx="8785620" cy="20569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737373"/>
            </a:solidFill>
          </a:ln>
        </p:spPr>
        <p:txBody>
          <a:bodyPr wrap="square">
            <a:spAutoFit/>
          </a:bodyPr>
          <a:lstStyle/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GB" sz="1100" b="1" dirty="0" smtClean="0"/>
              <a:t>Rata </a:t>
            </a:r>
            <a:r>
              <a:rPr lang="en-GB" sz="1100" b="1" dirty="0"/>
              <a:t>creditelor </a:t>
            </a:r>
            <a:r>
              <a:rPr lang="en-GB" sz="1100" b="1" dirty="0" err="1" smtClean="0"/>
              <a:t>neperformante</a:t>
            </a:r>
            <a:r>
              <a:rPr lang="en-GB" sz="1100" b="1" dirty="0" smtClean="0"/>
              <a:t> a </a:t>
            </a:r>
            <a:r>
              <a:rPr lang="en-GB" sz="1100" b="1" dirty="0" err="1" smtClean="0"/>
              <a:t>ajuns</a:t>
            </a:r>
            <a:r>
              <a:rPr lang="en-GB" sz="1100" b="1" dirty="0" smtClean="0"/>
              <a:t> la 3,8% la </a:t>
            </a:r>
            <a:r>
              <a:rPr lang="en-GB" sz="1100" b="1" dirty="0" err="1" smtClean="0"/>
              <a:t>finalul</a:t>
            </a:r>
            <a:r>
              <a:rPr lang="en-GB" sz="1100" b="1" dirty="0" smtClean="0"/>
              <a:t> </a:t>
            </a:r>
            <a:r>
              <a:rPr lang="en-GB" sz="1100" b="1" dirty="0" err="1" smtClean="0"/>
              <a:t>anului</a:t>
            </a:r>
            <a:r>
              <a:rPr lang="en-GB" sz="1100" b="1" dirty="0" smtClean="0"/>
              <a:t> 2020, fata de 4,1% la </a:t>
            </a:r>
            <a:r>
              <a:rPr lang="en-GB" sz="1100" b="1" dirty="0" err="1" smtClean="0"/>
              <a:t>finalul</a:t>
            </a:r>
            <a:r>
              <a:rPr lang="en-GB" sz="1100" b="1" dirty="0" smtClean="0"/>
              <a:t> </a:t>
            </a:r>
            <a:r>
              <a:rPr lang="en-GB" sz="1100" b="1" dirty="0" err="1" smtClean="0"/>
              <a:t>anului</a:t>
            </a:r>
            <a:r>
              <a:rPr lang="en-GB" sz="1100" b="1" dirty="0" smtClean="0"/>
              <a:t> 2019.</a:t>
            </a:r>
          </a:p>
          <a:p>
            <a:pPr marL="285750" indent="-285750" algn="l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GB" sz="1100" b="1" dirty="0"/>
              <a:t>Rata creditelor </a:t>
            </a:r>
            <a:r>
              <a:rPr lang="en-GB" sz="1100" b="1" dirty="0" err="1"/>
              <a:t>neperformante</a:t>
            </a:r>
            <a:r>
              <a:rPr lang="en-GB" sz="1100" b="1" dirty="0"/>
              <a:t> </a:t>
            </a:r>
            <a:r>
              <a:rPr lang="en-GB" sz="1100" b="1" dirty="0" err="1"/>
              <a:t>poate</a:t>
            </a:r>
            <a:r>
              <a:rPr lang="en-GB" sz="1100" b="1" dirty="0"/>
              <a:t> </a:t>
            </a:r>
            <a:r>
              <a:rPr lang="en-GB" sz="1100" b="1" dirty="0" err="1"/>
              <a:t>creste</a:t>
            </a:r>
            <a:r>
              <a:rPr lang="en-GB" sz="1100" b="1" dirty="0"/>
              <a:t>, </a:t>
            </a:r>
            <a:r>
              <a:rPr lang="en-GB" sz="1100" b="1" dirty="0" err="1"/>
              <a:t>odata</a:t>
            </a:r>
            <a:r>
              <a:rPr lang="en-GB" sz="1100" b="1" dirty="0"/>
              <a:t> </a:t>
            </a:r>
            <a:r>
              <a:rPr lang="en-GB" sz="1100" b="1" dirty="0" err="1"/>
              <a:t>ce</a:t>
            </a:r>
            <a:r>
              <a:rPr lang="en-GB" sz="1100" b="1" dirty="0"/>
              <a:t> </a:t>
            </a:r>
            <a:r>
              <a:rPr lang="en-GB" sz="1100" b="1" dirty="0" err="1"/>
              <a:t>impactul</a:t>
            </a:r>
            <a:r>
              <a:rPr lang="en-GB" sz="1100" b="1" dirty="0"/>
              <a:t> </a:t>
            </a:r>
            <a:r>
              <a:rPr lang="en-GB" sz="1100" b="1" dirty="0" err="1"/>
              <a:t>crizei</a:t>
            </a:r>
            <a:r>
              <a:rPr lang="en-GB" sz="1100" b="1" dirty="0"/>
              <a:t> </a:t>
            </a:r>
            <a:r>
              <a:rPr lang="en-GB" sz="1100" b="1" dirty="0" err="1"/>
              <a:t>asupra</a:t>
            </a:r>
            <a:r>
              <a:rPr lang="en-GB" sz="1100" b="1" dirty="0"/>
              <a:t> </a:t>
            </a:r>
            <a:r>
              <a:rPr lang="en-GB" sz="1100" b="1" dirty="0" err="1"/>
              <a:t>sectoarelor</a:t>
            </a:r>
            <a:r>
              <a:rPr lang="en-GB" sz="1100" b="1" dirty="0"/>
              <a:t> </a:t>
            </a:r>
            <a:r>
              <a:rPr lang="en-GB" sz="1100" b="1" dirty="0" err="1"/>
              <a:t>sensibile</a:t>
            </a:r>
            <a:r>
              <a:rPr lang="en-GB" sz="1100" b="1" dirty="0"/>
              <a:t> se </a:t>
            </a:r>
            <a:r>
              <a:rPr lang="en-GB" sz="1100" b="1" dirty="0" err="1"/>
              <a:t>va</a:t>
            </a:r>
            <a:r>
              <a:rPr lang="en-GB" sz="1100" b="1" dirty="0"/>
              <a:t> </a:t>
            </a:r>
            <a:r>
              <a:rPr lang="en-GB" sz="1100" b="1" dirty="0" err="1"/>
              <a:t>materializa</a:t>
            </a:r>
            <a:r>
              <a:rPr lang="en-GB" sz="1100" b="1" dirty="0"/>
              <a:t> </a:t>
            </a:r>
            <a:r>
              <a:rPr lang="en-GB" sz="1100" b="1" dirty="0" err="1"/>
              <a:t>pe</a:t>
            </a:r>
            <a:r>
              <a:rPr lang="en-GB" sz="1100" b="1" dirty="0"/>
              <a:t> </a:t>
            </a:r>
            <a:r>
              <a:rPr lang="en-GB" sz="1100" b="1" dirty="0" err="1"/>
              <a:t>deplin</a:t>
            </a:r>
            <a:r>
              <a:rPr lang="en-GB" sz="1100" b="1" dirty="0"/>
              <a:t> </a:t>
            </a:r>
            <a:r>
              <a:rPr lang="en-GB" sz="1100" b="1" dirty="0" err="1"/>
              <a:t>si</a:t>
            </a:r>
            <a:r>
              <a:rPr lang="en-GB" sz="1100" b="1" dirty="0"/>
              <a:t> se </a:t>
            </a:r>
            <a:r>
              <a:rPr lang="en-GB" sz="1100" b="1" dirty="0" err="1"/>
              <a:t>vor</a:t>
            </a:r>
            <a:r>
              <a:rPr lang="en-GB" sz="1100" b="1" dirty="0"/>
              <a:t> </a:t>
            </a:r>
            <a:r>
              <a:rPr lang="en-GB" sz="1100" b="1" dirty="0" err="1"/>
              <a:t>incheia</a:t>
            </a:r>
            <a:r>
              <a:rPr lang="en-GB" sz="1100" b="1" dirty="0"/>
              <a:t> </a:t>
            </a:r>
            <a:r>
              <a:rPr lang="en-GB" sz="1100" b="1" dirty="0" err="1"/>
              <a:t>masurile</a:t>
            </a:r>
            <a:r>
              <a:rPr lang="en-GB" sz="1100" b="1" dirty="0"/>
              <a:t> de </a:t>
            </a:r>
            <a:r>
              <a:rPr lang="en-GB" sz="1100" b="1" dirty="0" err="1"/>
              <a:t>sprijin</a:t>
            </a:r>
            <a:r>
              <a:rPr lang="en-GB" sz="1100" b="1" dirty="0" smtClean="0"/>
              <a:t>. Cu </a:t>
            </a:r>
            <a:r>
              <a:rPr lang="en-GB" sz="1100" b="1" dirty="0" err="1" smtClean="0"/>
              <a:t>toate</a:t>
            </a:r>
            <a:r>
              <a:rPr lang="en-GB" sz="1100" b="1" dirty="0" smtClean="0"/>
              <a:t> </a:t>
            </a:r>
            <a:r>
              <a:rPr lang="en-GB" sz="1100" b="1" dirty="0" err="1" smtClean="0"/>
              <a:t>acestea</a:t>
            </a:r>
            <a:r>
              <a:rPr lang="en-GB" sz="1100" b="1" dirty="0" smtClean="0"/>
              <a:t>, rata </a:t>
            </a:r>
            <a:r>
              <a:rPr lang="en-GB" sz="1100" b="1" dirty="0"/>
              <a:t>de </a:t>
            </a:r>
            <a:r>
              <a:rPr lang="en-GB" sz="1100" b="1" dirty="0" err="1"/>
              <a:t>acoperire</a:t>
            </a:r>
            <a:r>
              <a:rPr lang="en-GB" sz="1100" b="1" dirty="0"/>
              <a:t> a creditelor </a:t>
            </a:r>
            <a:r>
              <a:rPr lang="en-GB" sz="1100" b="1" dirty="0" err="1" smtClean="0"/>
              <a:t>neperformante</a:t>
            </a:r>
            <a:r>
              <a:rPr lang="en-GB" sz="1100" b="1" dirty="0" smtClean="0"/>
              <a:t> se </a:t>
            </a:r>
            <a:r>
              <a:rPr lang="en-GB" sz="1100" b="1" dirty="0" err="1" smtClean="0"/>
              <a:t>situeaza</a:t>
            </a:r>
            <a:r>
              <a:rPr lang="en-GB" sz="1100" b="1" dirty="0" smtClean="0"/>
              <a:t> la un </a:t>
            </a:r>
            <a:r>
              <a:rPr lang="en-GB" sz="1100" b="1" dirty="0" err="1" smtClean="0"/>
              <a:t>nivel</a:t>
            </a:r>
            <a:r>
              <a:rPr lang="en-GB" sz="1100" b="1" dirty="0" smtClean="0"/>
              <a:t> </a:t>
            </a:r>
            <a:r>
              <a:rPr lang="en-GB" sz="1100" b="1" dirty="0" err="1" smtClean="0"/>
              <a:t>confortabil</a:t>
            </a:r>
            <a:r>
              <a:rPr lang="en-GB" sz="1100" b="1" dirty="0" smtClean="0"/>
              <a:t>, </a:t>
            </a:r>
            <a:r>
              <a:rPr lang="en-GB" sz="1100" b="1" dirty="0" err="1" smtClean="0"/>
              <a:t>atingand</a:t>
            </a:r>
            <a:r>
              <a:rPr lang="en-GB" sz="1100" b="1" dirty="0" smtClean="0"/>
              <a:t> 63,3% la </a:t>
            </a:r>
            <a:r>
              <a:rPr lang="en-GB" sz="1100" b="1" dirty="0" err="1" smtClean="0"/>
              <a:t>finalul</a:t>
            </a:r>
            <a:r>
              <a:rPr lang="en-GB" sz="1100" b="1" dirty="0" smtClean="0"/>
              <a:t> </a:t>
            </a:r>
            <a:r>
              <a:rPr lang="en-GB" sz="1100" b="1" dirty="0" err="1" smtClean="0"/>
              <a:t>anului</a:t>
            </a:r>
            <a:r>
              <a:rPr lang="en-GB" sz="1100" b="1" dirty="0" smtClean="0"/>
              <a:t> 2020, </a:t>
            </a:r>
            <a:r>
              <a:rPr lang="en-GB" sz="1100" b="1" dirty="0" err="1" smtClean="0"/>
              <a:t>mult</a:t>
            </a:r>
            <a:r>
              <a:rPr lang="en-GB" sz="1100" b="1" dirty="0" smtClean="0"/>
              <a:t> </a:t>
            </a:r>
            <a:r>
              <a:rPr lang="en-GB" sz="1100" b="1" dirty="0" err="1" smtClean="0"/>
              <a:t>peste</a:t>
            </a:r>
            <a:r>
              <a:rPr lang="en-GB" sz="1100" b="1" dirty="0" smtClean="0"/>
              <a:t> media UE de 45,5%.</a:t>
            </a:r>
            <a:endParaRPr lang="en-GB" sz="1100" b="1" dirty="0"/>
          </a:p>
          <a:p>
            <a:pPr marL="285750" indent="-285750" algn="l" eaLnBrk="0" hangingPunct="0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err="1"/>
              <a:t>Sistemul</a:t>
            </a:r>
            <a:r>
              <a:rPr lang="en-US" sz="1100" b="1" dirty="0"/>
              <a:t> </a:t>
            </a:r>
            <a:r>
              <a:rPr lang="en-US" sz="1100" b="1" dirty="0" err="1"/>
              <a:t>bancar</a:t>
            </a:r>
            <a:r>
              <a:rPr lang="en-US" sz="1100" b="1" dirty="0"/>
              <a:t> </a:t>
            </a:r>
            <a:r>
              <a:rPr lang="en-US" sz="1100" b="1" dirty="0" err="1"/>
              <a:t>beneficiaza</a:t>
            </a:r>
            <a:r>
              <a:rPr lang="en-US" sz="1100" b="1" dirty="0"/>
              <a:t> de </a:t>
            </a:r>
            <a:r>
              <a:rPr lang="en-US" sz="1100" b="1" dirty="0" err="1"/>
              <a:t>pozitii</a:t>
            </a:r>
            <a:r>
              <a:rPr lang="en-US" sz="1100" b="1" dirty="0"/>
              <a:t> </a:t>
            </a:r>
            <a:r>
              <a:rPr lang="en-US" sz="1100" b="1" dirty="0" err="1"/>
              <a:t>solide</a:t>
            </a:r>
            <a:r>
              <a:rPr lang="en-US" sz="1100" b="1" dirty="0"/>
              <a:t> de </a:t>
            </a:r>
            <a:r>
              <a:rPr lang="en-US" sz="1100" b="1" dirty="0" err="1"/>
              <a:t>lichiditate</a:t>
            </a:r>
            <a:r>
              <a:rPr lang="en-US" sz="1100" b="1" dirty="0"/>
              <a:t> </a:t>
            </a:r>
            <a:r>
              <a:rPr lang="en-US" sz="1100" b="1" dirty="0" err="1"/>
              <a:t>si</a:t>
            </a:r>
            <a:r>
              <a:rPr lang="en-US" sz="1100" b="1" dirty="0"/>
              <a:t> </a:t>
            </a:r>
            <a:r>
              <a:rPr lang="en-US" sz="1100" b="1" dirty="0" err="1"/>
              <a:t>capitalizare</a:t>
            </a:r>
            <a:r>
              <a:rPr lang="en-US" sz="1100" b="1" dirty="0"/>
              <a:t>. </a:t>
            </a:r>
            <a:r>
              <a:rPr lang="en-US" sz="1100" b="1" dirty="0" err="1" smtClean="0"/>
              <a:t>Situat</a:t>
            </a:r>
            <a:r>
              <a:rPr lang="en-US" sz="1100" b="1" dirty="0" smtClean="0"/>
              <a:t> la 66% la </a:t>
            </a:r>
            <a:r>
              <a:rPr lang="en-US" sz="1100" b="1" dirty="0" err="1" smtClean="0"/>
              <a:t>finalul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anului</a:t>
            </a:r>
            <a:r>
              <a:rPr lang="en-US" sz="1100" b="1" dirty="0" smtClean="0"/>
              <a:t> 2020, </a:t>
            </a:r>
            <a:r>
              <a:rPr lang="en-US" sz="1100" b="1" dirty="0" err="1" smtClean="0"/>
              <a:t>raportul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credite</a:t>
            </a:r>
            <a:r>
              <a:rPr lang="en-US" sz="1100" b="1" dirty="0" smtClean="0"/>
              <a:t>/</a:t>
            </a:r>
            <a:r>
              <a:rPr lang="en-US" sz="1100" b="1" dirty="0" err="1" smtClean="0"/>
              <a:t>depozit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las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patiu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emnificativ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pentru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crestere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creditelor</a:t>
            </a:r>
            <a:r>
              <a:rPr lang="en-US" sz="1100" b="1" dirty="0" smtClean="0"/>
              <a:t>. Cu o r</a:t>
            </a:r>
            <a:r>
              <a:rPr lang="it-IT" sz="1100" b="1" dirty="0" smtClean="0"/>
              <a:t>ata a fondurilor </a:t>
            </a:r>
            <a:r>
              <a:rPr lang="it-IT" sz="1100" b="1" dirty="0"/>
              <a:t>proprii totale </a:t>
            </a:r>
            <a:r>
              <a:rPr lang="it-IT" sz="1100" b="1" dirty="0" smtClean="0"/>
              <a:t>de 23,2% </a:t>
            </a:r>
            <a:r>
              <a:rPr lang="it-IT" sz="1100" b="1" dirty="0"/>
              <a:t>la finalul anului </a:t>
            </a:r>
            <a:r>
              <a:rPr lang="it-IT" sz="1100" b="1" dirty="0" smtClean="0"/>
              <a:t>2020, </a:t>
            </a:r>
            <a:r>
              <a:rPr lang="it-IT" sz="1100" b="1" dirty="0"/>
              <a:t>sistemul bancar romanesc </a:t>
            </a:r>
            <a:r>
              <a:rPr lang="it-IT" sz="1100" b="1" dirty="0" smtClean="0"/>
              <a:t>este </a:t>
            </a:r>
            <a:r>
              <a:rPr lang="it-IT" sz="1100" b="1" dirty="0"/>
              <a:t>bine </a:t>
            </a:r>
            <a:r>
              <a:rPr lang="it-IT" sz="1100" b="1" dirty="0" smtClean="0"/>
              <a:t>capitalizat.</a:t>
            </a:r>
            <a:r>
              <a:rPr lang="en-US" sz="1100" b="1" dirty="0" smtClean="0"/>
              <a:t> </a:t>
            </a:r>
            <a:endParaRPr lang="en-US" sz="1100" b="1" dirty="0"/>
          </a:p>
          <a:p>
            <a:pPr marL="285750" indent="-285750" algn="l" eaLnBrk="0" hangingPunct="0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err="1" smtClean="0"/>
              <a:t>P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viitor</a:t>
            </a:r>
            <a:r>
              <a:rPr lang="en-US" sz="1100" b="1" dirty="0" smtClean="0"/>
              <a:t>, </a:t>
            </a:r>
            <a:r>
              <a:rPr lang="en-US" sz="1100" b="1" dirty="0" err="1"/>
              <a:t>principalele</a:t>
            </a:r>
            <a:r>
              <a:rPr lang="en-US" sz="1100" b="1" dirty="0"/>
              <a:t> </a:t>
            </a:r>
            <a:r>
              <a:rPr lang="en-US" sz="1100" b="1" dirty="0" err="1" smtClean="0"/>
              <a:t>provocari</a:t>
            </a:r>
            <a:r>
              <a:rPr lang="en-US" sz="1100" b="1" dirty="0" smtClean="0"/>
              <a:t> </a:t>
            </a:r>
            <a:r>
              <a:rPr lang="en-US" sz="1100" b="1" dirty="0" err="1"/>
              <a:t>pentru</a:t>
            </a:r>
            <a:r>
              <a:rPr lang="en-US" sz="1100" b="1" dirty="0"/>
              <a:t> </a:t>
            </a:r>
            <a:r>
              <a:rPr lang="en-US" sz="1100" b="1" dirty="0" err="1"/>
              <a:t>sectorul</a:t>
            </a:r>
            <a:r>
              <a:rPr lang="en-US" sz="1100" b="1" dirty="0"/>
              <a:t> </a:t>
            </a:r>
            <a:r>
              <a:rPr lang="en-US" sz="1100" b="1" dirty="0" err="1"/>
              <a:t>bancar</a:t>
            </a:r>
            <a:r>
              <a:rPr lang="en-US" sz="1100" b="1" dirty="0"/>
              <a:t> </a:t>
            </a:r>
            <a:r>
              <a:rPr lang="en-US" sz="1100" b="1" dirty="0" err="1"/>
              <a:t>sunt</a:t>
            </a:r>
            <a:r>
              <a:rPr lang="en-US" sz="1100" b="1" dirty="0"/>
              <a:t> legate de </a:t>
            </a:r>
            <a:r>
              <a:rPr lang="en-US" sz="1100" b="1" dirty="0" err="1" smtClean="0"/>
              <a:t>evolutia</a:t>
            </a:r>
            <a:r>
              <a:rPr lang="en-US" sz="1100" b="1" dirty="0" smtClean="0"/>
              <a:t> </a:t>
            </a:r>
            <a:r>
              <a:rPr lang="en-US" sz="1100" b="1" dirty="0" err="1"/>
              <a:t>pandemiei</a:t>
            </a:r>
            <a:r>
              <a:rPr lang="en-US" sz="1100" b="1" dirty="0"/>
              <a:t> care a </a:t>
            </a:r>
            <a:r>
              <a:rPr lang="en-US" sz="1100" b="1" dirty="0" err="1"/>
              <a:t>generat</a:t>
            </a:r>
            <a:r>
              <a:rPr lang="en-US" sz="1100" b="1" dirty="0"/>
              <a:t> </a:t>
            </a:r>
            <a:r>
              <a:rPr lang="en-US" sz="1100" b="1" dirty="0" err="1"/>
              <a:t>ajustarea</a:t>
            </a:r>
            <a:r>
              <a:rPr lang="en-US" sz="1100" b="1" dirty="0"/>
              <a:t> </a:t>
            </a:r>
            <a:r>
              <a:rPr lang="en-US" sz="1100" b="1" dirty="0" err="1" smtClean="0"/>
              <a:t>brusca</a:t>
            </a:r>
            <a:r>
              <a:rPr lang="en-US" sz="1100" b="1" dirty="0" smtClean="0"/>
              <a:t> </a:t>
            </a:r>
            <a:r>
              <a:rPr lang="en-US" sz="1100" b="1" dirty="0"/>
              <a:t>a </a:t>
            </a:r>
            <a:r>
              <a:rPr lang="en-US" sz="1100" b="1" dirty="0" err="1"/>
              <a:t>perspectivelor</a:t>
            </a:r>
            <a:r>
              <a:rPr lang="en-US" sz="1100" b="1" dirty="0"/>
              <a:t> de </a:t>
            </a:r>
            <a:r>
              <a:rPr lang="en-US" sz="1100" b="1" dirty="0" err="1" smtClean="0"/>
              <a:t>crester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economica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si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consecintele</a:t>
            </a:r>
            <a:r>
              <a:rPr lang="en-US" sz="1100" b="1" dirty="0" smtClean="0"/>
              <a:t> </a:t>
            </a:r>
            <a:r>
              <a:rPr lang="en-US" sz="1100" b="1" dirty="0" err="1"/>
              <a:t>acesteia</a:t>
            </a:r>
            <a:r>
              <a:rPr lang="en-US" sz="1100" b="1" dirty="0"/>
              <a:t> </a:t>
            </a:r>
            <a:r>
              <a:rPr lang="en-US" sz="1100" b="1" dirty="0" err="1"/>
              <a:t>asupra</a:t>
            </a:r>
            <a:r>
              <a:rPr lang="en-US" sz="1100" b="1" dirty="0"/>
              <a:t> </a:t>
            </a:r>
            <a:r>
              <a:rPr lang="en-US" sz="1100" b="1" dirty="0" err="1" smtClean="0"/>
              <a:t>solvabilitatii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agentilor</a:t>
            </a:r>
            <a:r>
              <a:rPr lang="en-US" sz="1100" b="1" dirty="0" smtClean="0"/>
              <a:t> </a:t>
            </a:r>
            <a:r>
              <a:rPr lang="en-US" sz="1100" b="1" dirty="0" err="1"/>
              <a:t>economici</a:t>
            </a:r>
            <a:r>
              <a:rPr lang="en-US" sz="1100" b="1" dirty="0"/>
              <a:t> </a:t>
            </a:r>
            <a:r>
              <a:rPr lang="en-US" sz="1100" b="1" dirty="0" err="1" smtClean="0"/>
              <a:t>afectati</a:t>
            </a:r>
            <a:r>
              <a:rPr lang="en-US" sz="1100" b="1" dirty="0" smtClean="0"/>
              <a:t>.</a:t>
            </a:r>
            <a:endParaRPr lang="en-US" sz="1100" b="1" dirty="0"/>
          </a:p>
          <a:p>
            <a:pPr marL="285750" indent="-285750" algn="l" eaLnBrk="0" hangingPunct="0">
              <a:spcBef>
                <a:spcPts val="200"/>
              </a:spcBef>
              <a:buClr>
                <a:srgbClr val="C00000"/>
              </a:buClr>
              <a:buSzPct val="110000"/>
              <a:buFont typeface="Wingdings" panose="05000000000000000000" pitchFamily="2" charset="2"/>
              <a:buChar char="§"/>
            </a:pPr>
            <a:r>
              <a:rPr lang="en-US" sz="1100" b="1" dirty="0" smtClean="0"/>
              <a:t>Se </a:t>
            </a:r>
            <a:r>
              <a:rPr lang="en-US" sz="1100" b="1" dirty="0" err="1" smtClean="0"/>
              <a:t>asteapta</a:t>
            </a:r>
            <a:r>
              <a:rPr lang="en-US" sz="1100" b="1" dirty="0" smtClean="0"/>
              <a:t> un </a:t>
            </a:r>
            <a:r>
              <a:rPr lang="en-US" sz="1100" b="1" dirty="0" err="1" smtClean="0"/>
              <a:t>volum</a:t>
            </a:r>
            <a:r>
              <a:rPr lang="en-US" sz="1100" b="1" dirty="0" smtClean="0"/>
              <a:t> </a:t>
            </a:r>
            <a:r>
              <a:rPr lang="en-US" sz="1100" b="1" dirty="0"/>
              <a:t>de </a:t>
            </a:r>
            <a:r>
              <a:rPr lang="en-US" sz="1100" b="1" dirty="0" err="1"/>
              <a:t>credite</a:t>
            </a:r>
            <a:r>
              <a:rPr lang="en-US" sz="1100" b="1" dirty="0"/>
              <a:t> </a:t>
            </a:r>
            <a:r>
              <a:rPr lang="en-US" sz="1100" b="1" dirty="0" smtClean="0"/>
              <a:t>in </a:t>
            </a:r>
            <a:r>
              <a:rPr lang="en-US" sz="1100" b="1" dirty="0" err="1" smtClean="0"/>
              <a:t>crestere</a:t>
            </a:r>
            <a:r>
              <a:rPr lang="en-US" sz="1100" b="1" dirty="0" smtClean="0"/>
              <a:t> in </a:t>
            </a:r>
            <a:r>
              <a:rPr lang="en-US" sz="1100" b="1" dirty="0"/>
              <a:t>2021 </a:t>
            </a:r>
            <a:r>
              <a:rPr lang="en-US" sz="1100" b="1" dirty="0" err="1" smtClean="0"/>
              <a:t>atat</a:t>
            </a:r>
            <a:r>
              <a:rPr lang="en-US" sz="1100" b="1" dirty="0" smtClean="0"/>
              <a:t> </a:t>
            </a:r>
            <a:r>
              <a:rPr lang="en-US" sz="1100" b="1" dirty="0" err="1"/>
              <a:t>pe</a:t>
            </a:r>
            <a:r>
              <a:rPr lang="en-US" sz="1100" b="1" dirty="0"/>
              <a:t> </a:t>
            </a:r>
            <a:r>
              <a:rPr lang="en-US" sz="1100" b="1" dirty="0" err="1" smtClean="0"/>
              <a:t>segmentul</a:t>
            </a:r>
            <a:r>
              <a:rPr lang="en-US" sz="1100" b="1" dirty="0" smtClean="0"/>
              <a:t> de retail</a:t>
            </a:r>
            <a:r>
              <a:rPr lang="en-US" sz="1100" b="1" dirty="0"/>
              <a:t>, </a:t>
            </a:r>
            <a:r>
              <a:rPr lang="en-US" sz="1100" b="1" dirty="0" smtClean="0"/>
              <a:t>cat </a:t>
            </a:r>
            <a:r>
              <a:rPr lang="en-US" sz="1100" b="1" dirty="0" err="1" smtClean="0"/>
              <a:t>si</a:t>
            </a:r>
            <a:r>
              <a:rPr lang="en-US" sz="1100" b="1" dirty="0" smtClean="0"/>
              <a:t> </a:t>
            </a:r>
            <a:r>
              <a:rPr lang="en-US" sz="1100" b="1" dirty="0" err="1"/>
              <a:t>pe</a:t>
            </a:r>
            <a:r>
              <a:rPr lang="en-US" sz="1100" b="1" dirty="0"/>
              <a:t> </a:t>
            </a:r>
            <a:r>
              <a:rPr lang="en-US" sz="1100" b="1" dirty="0" err="1" smtClean="0"/>
              <a:t>cel</a:t>
            </a:r>
            <a:r>
              <a:rPr lang="en-US" sz="1100" b="1" dirty="0" smtClean="0"/>
              <a:t> al </a:t>
            </a:r>
            <a:r>
              <a:rPr lang="en-US" sz="1100" b="1" dirty="0" err="1" smtClean="0"/>
              <a:t>companiilor</a:t>
            </a:r>
            <a:r>
              <a:rPr lang="en-US" sz="1100" b="1" dirty="0" smtClean="0"/>
              <a:t>, </a:t>
            </a:r>
            <a:r>
              <a:rPr lang="en-US" sz="1100" b="1" dirty="0" err="1" smtClean="0"/>
              <a:t>intr</a:t>
            </a:r>
            <a:r>
              <a:rPr lang="en-US" sz="1100" b="1" dirty="0" smtClean="0"/>
              <a:t>-un </a:t>
            </a:r>
            <a:r>
              <a:rPr lang="en-US" sz="1100" b="1" dirty="0"/>
              <a:t>context de </a:t>
            </a:r>
            <a:r>
              <a:rPr lang="en-US" sz="1100" b="1" dirty="0" err="1" smtClean="0"/>
              <a:t>relansare</a:t>
            </a:r>
            <a:r>
              <a:rPr lang="en-US" sz="1100" b="1" dirty="0" smtClean="0"/>
              <a:t> </a:t>
            </a:r>
            <a:r>
              <a:rPr lang="en-US" sz="1100" b="1" dirty="0" err="1" smtClean="0"/>
              <a:t>economica</a:t>
            </a:r>
            <a:r>
              <a:rPr lang="en-US" sz="1100" b="1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52432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0963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398256" y="1296061"/>
            <a:ext cx="5655285" cy="8480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171450"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Segmentare</a:t>
            </a:r>
            <a:r>
              <a:rPr lang="en-US" sz="1130" dirty="0"/>
              <a:t> </a:t>
            </a:r>
            <a:r>
              <a:rPr lang="en-US" sz="1130" dirty="0" err="1"/>
              <a:t>mai</a:t>
            </a:r>
            <a:r>
              <a:rPr lang="en-US" sz="1130" dirty="0"/>
              <a:t> </a:t>
            </a:r>
            <a:r>
              <a:rPr lang="en-US" sz="1130" dirty="0" err="1"/>
              <a:t>rafinata</a:t>
            </a:r>
            <a:r>
              <a:rPr lang="en-US" sz="1130" dirty="0"/>
              <a:t>, </a:t>
            </a:r>
            <a:r>
              <a:rPr lang="en-US" sz="1130" dirty="0" err="1"/>
              <a:t>bazata</a:t>
            </a:r>
            <a:r>
              <a:rPr lang="en-US" sz="1130" dirty="0"/>
              <a:t> </a:t>
            </a:r>
            <a:r>
              <a:rPr lang="en-US" sz="1130" dirty="0" err="1"/>
              <a:t>pe</a:t>
            </a:r>
            <a:r>
              <a:rPr lang="en-US" sz="1130" dirty="0"/>
              <a:t> </a:t>
            </a:r>
            <a:r>
              <a:rPr lang="en-US" sz="1130" dirty="0" err="1"/>
              <a:t>criterii</a:t>
            </a:r>
            <a:r>
              <a:rPr lang="en-US" sz="1130" dirty="0"/>
              <a:t> </a:t>
            </a:r>
            <a:r>
              <a:rPr lang="en-US" sz="1130" dirty="0" err="1"/>
              <a:t>comportamentale</a:t>
            </a:r>
            <a:endParaRPr lang="en-US" sz="1130" dirty="0"/>
          </a:p>
          <a:p>
            <a:pPr marL="171450"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Experiente</a:t>
            </a:r>
            <a:r>
              <a:rPr lang="en-US" sz="1130" dirty="0"/>
              <a:t> </a:t>
            </a:r>
            <a:r>
              <a:rPr lang="en-US" sz="1130" dirty="0" err="1"/>
              <a:t>omni</a:t>
            </a:r>
            <a:r>
              <a:rPr lang="en-US" sz="1130" dirty="0"/>
              <a:t>-channel </a:t>
            </a:r>
            <a:r>
              <a:rPr lang="en-US" sz="1130" dirty="0" err="1"/>
              <a:t>personalizate</a:t>
            </a:r>
            <a:r>
              <a:rPr lang="en-US" sz="1130" dirty="0"/>
              <a:t>, </a:t>
            </a:r>
            <a:r>
              <a:rPr lang="en-US" sz="1130" dirty="0" err="1"/>
              <a:t>comunicare</a:t>
            </a:r>
            <a:r>
              <a:rPr lang="en-US" sz="1130" dirty="0"/>
              <a:t>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oferta</a:t>
            </a:r>
            <a:r>
              <a:rPr lang="en-US" sz="1130" dirty="0"/>
              <a:t> (</a:t>
            </a:r>
            <a:r>
              <a:rPr lang="en-US" sz="1130" dirty="0" err="1"/>
              <a:t>acoperind</a:t>
            </a:r>
            <a:r>
              <a:rPr lang="en-US" sz="1130" dirty="0"/>
              <a:t> </a:t>
            </a:r>
            <a:r>
              <a:rPr lang="en-US" sz="1130" dirty="0" err="1"/>
              <a:t>atat</a:t>
            </a:r>
            <a:r>
              <a:rPr lang="en-US" sz="1130" dirty="0"/>
              <a:t> </a:t>
            </a:r>
            <a:r>
              <a:rPr lang="en-US" sz="1130" dirty="0" err="1" smtClean="0"/>
              <a:t>produsele</a:t>
            </a:r>
            <a:r>
              <a:rPr lang="en-US" sz="1130" dirty="0" smtClean="0"/>
              <a:t> </a:t>
            </a:r>
            <a:r>
              <a:rPr lang="en-US" sz="1130" dirty="0" err="1"/>
              <a:t>bancare</a:t>
            </a:r>
            <a:r>
              <a:rPr lang="en-US" sz="1130" dirty="0"/>
              <a:t> cat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smtClean="0"/>
              <a:t> </a:t>
            </a:r>
            <a:r>
              <a:rPr lang="en-US" sz="1130" dirty="0" err="1" smtClean="0"/>
              <a:t>cele</a:t>
            </a:r>
            <a:r>
              <a:rPr lang="en-US" sz="1130" dirty="0" smtClean="0"/>
              <a:t> de </a:t>
            </a:r>
            <a:r>
              <a:rPr lang="en-US" sz="1130" dirty="0" err="1"/>
              <a:t>asigurare</a:t>
            </a:r>
            <a:r>
              <a:rPr lang="en-US" sz="1130" dirty="0"/>
              <a:t>) </a:t>
            </a:r>
            <a:r>
              <a:rPr lang="en-US" sz="1130" dirty="0" err="1"/>
              <a:t>ce</a:t>
            </a:r>
            <a:r>
              <a:rPr lang="en-US" sz="1130" dirty="0"/>
              <a:t> </a:t>
            </a:r>
            <a:r>
              <a:rPr lang="en-US" sz="1130" dirty="0" err="1"/>
              <a:t>utilizeaza</a:t>
            </a:r>
            <a:r>
              <a:rPr lang="en-US" sz="1130" dirty="0"/>
              <a:t> </a:t>
            </a:r>
            <a:r>
              <a:rPr lang="en-US" sz="1130" dirty="0" err="1"/>
              <a:t>analize</a:t>
            </a:r>
            <a:r>
              <a:rPr lang="en-US" sz="1130" dirty="0"/>
              <a:t> </a:t>
            </a:r>
            <a:r>
              <a:rPr lang="en-US" sz="1130" dirty="0" err="1"/>
              <a:t>avansate</a:t>
            </a:r>
            <a:r>
              <a:rPr lang="en-US" sz="1130" dirty="0"/>
              <a:t> de date  </a:t>
            </a:r>
          </a:p>
          <a:p>
            <a:pPr marL="171450"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/>
              <a:t>Model de </a:t>
            </a:r>
            <a:r>
              <a:rPr lang="en-US" sz="1130" dirty="0" err="1"/>
              <a:t>guvernanta</a:t>
            </a:r>
            <a:r>
              <a:rPr lang="en-US" sz="1130" dirty="0"/>
              <a:t> </a:t>
            </a:r>
            <a:r>
              <a:rPr lang="en-US" sz="1130" dirty="0" err="1"/>
              <a:t>determinat</a:t>
            </a:r>
            <a:r>
              <a:rPr lang="en-US" sz="1130" dirty="0"/>
              <a:t> de segment</a:t>
            </a:r>
          </a:p>
        </p:txBody>
      </p:sp>
      <p:sp>
        <p:nvSpPr>
          <p:cNvPr id="7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3</a:t>
            </a:r>
            <a:endParaRPr lang="en-GB" sz="8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398256" y="2213217"/>
            <a:ext cx="5655285" cy="14379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171450"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 err="1"/>
              <a:t>Orientarea</a:t>
            </a:r>
            <a:r>
              <a:rPr lang="en-US" sz="1150" dirty="0"/>
              <a:t> </a:t>
            </a:r>
            <a:r>
              <a:rPr lang="en-US" sz="1150" dirty="0" err="1"/>
              <a:t>agentiilor</a:t>
            </a:r>
            <a:r>
              <a:rPr lang="en-US" sz="1150" dirty="0"/>
              <a:t> </a:t>
            </a:r>
            <a:r>
              <a:rPr lang="en-US" sz="1150" dirty="0" err="1"/>
              <a:t>catre</a:t>
            </a:r>
            <a:r>
              <a:rPr lang="en-US" sz="1150" dirty="0"/>
              <a:t> </a:t>
            </a:r>
            <a:r>
              <a:rPr lang="en-US" sz="1150" dirty="0" err="1"/>
              <a:t>servicii</a:t>
            </a:r>
            <a:r>
              <a:rPr lang="en-US" sz="1150" dirty="0"/>
              <a:t> cu </a:t>
            </a:r>
            <a:r>
              <a:rPr lang="en-US" sz="1150" dirty="0" err="1"/>
              <a:t>valoare</a:t>
            </a:r>
            <a:r>
              <a:rPr lang="en-US" sz="1150" dirty="0"/>
              <a:t> </a:t>
            </a:r>
            <a:r>
              <a:rPr lang="en-US" sz="1150" dirty="0" err="1"/>
              <a:t>adaugata</a:t>
            </a:r>
            <a:r>
              <a:rPr lang="en-US" sz="1150" dirty="0"/>
              <a:t> </a:t>
            </a:r>
            <a:r>
              <a:rPr lang="en-US" sz="1150" dirty="0" err="1"/>
              <a:t>si</a:t>
            </a:r>
            <a:r>
              <a:rPr lang="en-US" sz="1150" dirty="0"/>
              <a:t> </a:t>
            </a:r>
            <a:r>
              <a:rPr lang="en-US" sz="1150" dirty="0" err="1" smtClean="0"/>
              <a:t>consiliere</a:t>
            </a:r>
            <a:endParaRPr lang="en-US" sz="1150" dirty="0" smtClean="0"/>
          </a:p>
          <a:p>
            <a:pPr marL="171450"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 err="1" smtClean="0"/>
              <a:t>Diferentiere</a:t>
            </a:r>
            <a:r>
              <a:rPr lang="en-US" sz="1150" dirty="0" smtClean="0"/>
              <a:t> </a:t>
            </a:r>
            <a:r>
              <a:rPr lang="en-US" sz="1150" dirty="0" err="1"/>
              <a:t>prin</a:t>
            </a:r>
            <a:r>
              <a:rPr lang="en-US" sz="1150" dirty="0"/>
              <a:t> </a:t>
            </a:r>
            <a:r>
              <a:rPr lang="en-US" sz="1150" dirty="0" err="1"/>
              <a:t>calitatea</a:t>
            </a:r>
            <a:r>
              <a:rPr lang="en-US" sz="1150" dirty="0"/>
              <a:t> </a:t>
            </a:r>
            <a:r>
              <a:rPr lang="en-US" sz="1150" dirty="0" err="1"/>
              <a:t>si</a:t>
            </a:r>
            <a:r>
              <a:rPr lang="en-US" sz="1150" dirty="0"/>
              <a:t> </a:t>
            </a:r>
            <a:r>
              <a:rPr lang="en-US" sz="1150" dirty="0" err="1"/>
              <a:t>expertiza</a:t>
            </a:r>
            <a:r>
              <a:rPr lang="en-US" sz="1150" dirty="0"/>
              <a:t> </a:t>
            </a:r>
            <a:r>
              <a:rPr lang="en-US" sz="1150" dirty="0" err="1"/>
              <a:t>managerilor</a:t>
            </a:r>
            <a:r>
              <a:rPr lang="en-US" sz="1150" dirty="0"/>
              <a:t> de </a:t>
            </a:r>
            <a:r>
              <a:rPr lang="en-US" sz="1150" dirty="0" err="1"/>
              <a:t>clientela</a:t>
            </a:r>
            <a:r>
              <a:rPr lang="en-US" sz="1150" dirty="0"/>
              <a:t> 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 err="1"/>
              <a:t>Extinderea</a:t>
            </a:r>
            <a:r>
              <a:rPr lang="en-US" sz="1150" dirty="0"/>
              <a:t> </a:t>
            </a:r>
            <a:r>
              <a:rPr lang="en-US" sz="1150" dirty="0" err="1"/>
              <a:t>zonelor</a:t>
            </a:r>
            <a:r>
              <a:rPr lang="en-US" sz="1150" dirty="0"/>
              <a:t> de self-service 24/7 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50" dirty="0" err="1"/>
              <a:t>Continuarea</a:t>
            </a:r>
            <a:r>
              <a:rPr lang="en-US" sz="1150" dirty="0"/>
              <a:t> </a:t>
            </a:r>
            <a:r>
              <a:rPr lang="en-US" sz="1150" dirty="0" err="1"/>
              <a:t>transformarii</a:t>
            </a:r>
            <a:r>
              <a:rPr lang="en-US" sz="1150" dirty="0"/>
              <a:t> </a:t>
            </a:r>
            <a:r>
              <a:rPr lang="en-US" sz="1150" dirty="0" err="1"/>
              <a:t>retelei</a:t>
            </a:r>
            <a:r>
              <a:rPr lang="en-US" sz="1150" dirty="0"/>
              <a:t> de </a:t>
            </a:r>
            <a:r>
              <a:rPr lang="en-US" sz="1150" dirty="0" err="1"/>
              <a:t>agentii</a:t>
            </a:r>
            <a:r>
              <a:rPr lang="en-US" sz="1150" dirty="0"/>
              <a:t>:</a:t>
            </a:r>
          </a:p>
          <a:p>
            <a:pPr lvl="1" algn="l"/>
            <a:r>
              <a:rPr lang="en-US" sz="1150" dirty="0" smtClean="0"/>
              <a:t>- </a:t>
            </a:r>
            <a:r>
              <a:rPr lang="en-US" sz="1150" dirty="0" err="1" smtClean="0"/>
              <a:t>Reducerea</a:t>
            </a:r>
            <a:r>
              <a:rPr lang="en-US" sz="1150" dirty="0" smtClean="0"/>
              <a:t> </a:t>
            </a:r>
            <a:r>
              <a:rPr lang="en-US" sz="1150" dirty="0" err="1"/>
              <a:t>pragmatica</a:t>
            </a:r>
            <a:r>
              <a:rPr lang="en-US" sz="1150" dirty="0"/>
              <a:t> a </a:t>
            </a:r>
            <a:r>
              <a:rPr lang="en-US" sz="1150" dirty="0" err="1"/>
              <a:t>numarului</a:t>
            </a:r>
            <a:r>
              <a:rPr lang="en-US" sz="1150" dirty="0"/>
              <a:t> </a:t>
            </a:r>
          </a:p>
          <a:p>
            <a:pPr lvl="1" algn="l"/>
            <a:r>
              <a:rPr lang="en-US" sz="1150" dirty="0" smtClean="0"/>
              <a:t>- </a:t>
            </a:r>
            <a:r>
              <a:rPr lang="en-US" sz="1150" dirty="0" err="1" smtClean="0"/>
              <a:t>Marirea</a:t>
            </a:r>
            <a:r>
              <a:rPr lang="en-US" sz="1150" dirty="0" smtClean="0"/>
              <a:t> </a:t>
            </a:r>
            <a:r>
              <a:rPr lang="en-US" sz="1150" dirty="0" err="1"/>
              <a:t>dimensiunii</a:t>
            </a:r>
            <a:r>
              <a:rPr lang="en-US" sz="1150" dirty="0"/>
              <a:t> </a:t>
            </a:r>
            <a:r>
              <a:rPr lang="en-US" sz="1150" dirty="0" err="1"/>
              <a:t>medii</a:t>
            </a:r>
            <a:r>
              <a:rPr lang="en-US" sz="1150" dirty="0"/>
              <a:t> </a:t>
            </a:r>
            <a:endParaRPr lang="en-US" sz="1150" dirty="0" smtClean="0"/>
          </a:p>
          <a:p>
            <a:pPr lvl="1" algn="l"/>
            <a:r>
              <a:rPr lang="en-US" sz="1150" dirty="0" smtClean="0"/>
              <a:t>- </a:t>
            </a:r>
            <a:r>
              <a:rPr lang="en-US" sz="1150" dirty="0" err="1" smtClean="0"/>
              <a:t>Introducerea</a:t>
            </a:r>
            <a:r>
              <a:rPr lang="en-US" sz="1150" dirty="0" smtClean="0"/>
              <a:t> </a:t>
            </a:r>
            <a:r>
              <a:rPr lang="en-US" sz="1150" dirty="0" err="1"/>
              <a:t>formatelor</a:t>
            </a:r>
            <a:r>
              <a:rPr lang="en-US" sz="1150" dirty="0"/>
              <a:t> </a:t>
            </a:r>
            <a:r>
              <a:rPr lang="en-US" sz="1150" dirty="0" err="1"/>
              <a:t>noi</a:t>
            </a:r>
            <a:r>
              <a:rPr lang="en-US" sz="1150" dirty="0"/>
              <a:t> de </a:t>
            </a:r>
            <a:r>
              <a:rPr lang="en-US" sz="1150" dirty="0" err="1"/>
              <a:t>sucursala</a:t>
            </a:r>
            <a:r>
              <a:rPr lang="en-US" sz="1150" dirty="0"/>
              <a:t> </a:t>
            </a:r>
            <a:r>
              <a:rPr lang="en-US" sz="1150" dirty="0" err="1"/>
              <a:t>adaptate</a:t>
            </a:r>
            <a:r>
              <a:rPr lang="en-US" sz="1150" dirty="0"/>
              <a:t> </a:t>
            </a:r>
            <a:r>
              <a:rPr lang="en-US" sz="1150" dirty="0" err="1"/>
              <a:t>noului</a:t>
            </a:r>
            <a:r>
              <a:rPr lang="en-US" sz="1150" dirty="0"/>
              <a:t> model de </a:t>
            </a:r>
            <a:r>
              <a:rPr lang="en-US" sz="1150" dirty="0" err="1"/>
              <a:t>vanzari</a:t>
            </a:r>
            <a:r>
              <a:rPr lang="en-US" sz="1150" dirty="0"/>
              <a:t> </a:t>
            </a:r>
            <a:r>
              <a:rPr lang="en-US" sz="1150" dirty="0" err="1"/>
              <a:t>si</a:t>
            </a:r>
            <a:r>
              <a:rPr lang="en-US" sz="1150" dirty="0"/>
              <a:t> </a:t>
            </a:r>
            <a:r>
              <a:rPr lang="en-US" sz="1150" dirty="0" err="1"/>
              <a:t>servicii</a:t>
            </a:r>
            <a:r>
              <a:rPr lang="en-US" sz="1150" dirty="0"/>
              <a:t> </a:t>
            </a:r>
            <a:r>
              <a:rPr lang="en-US" sz="1150" dirty="0" err="1"/>
              <a:t>si</a:t>
            </a:r>
            <a:r>
              <a:rPr lang="en-US" sz="1150" dirty="0"/>
              <a:t> </a:t>
            </a:r>
            <a:r>
              <a:rPr lang="en-US" sz="1150" dirty="0" err="1"/>
              <a:t>impulsionarea</a:t>
            </a:r>
            <a:r>
              <a:rPr lang="en-US" sz="1150" dirty="0"/>
              <a:t> </a:t>
            </a:r>
            <a:r>
              <a:rPr lang="en-US" sz="1150" dirty="0" err="1"/>
              <a:t>unei</a:t>
            </a:r>
            <a:r>
              <a:rPr lang="en-US" sz="1150" dirty="0"/>
              <a:t> </a:t>
            </a:r>
            <a:r>
              <a:rPr lang="en-US" sz="1150" dirty="0" err="1"/>
              <a:t>abordari</a:t>
            </a:r>
            <a:r>
              <a:rPr lang="en-US" sz="1150" dirty="0"/>
              <a:t> </a:t>
            </a:r>
            <a:r>
              <a:rPr lang="en-US" sz="1150" dirty="0" err="1"/>
              <a:t>colaborative</a:t>
            </a:r>
            <a:endParaRPr lang="en-US" sz="1150" dirty="0"/>
          </a:p>
          <a:p>
            <a:pPr marL="741363" lvl="2" indent="-109538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15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420067" y="3772474"/>
            <a:ext cx="5633474" cy="10670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Reinnoirea</a:t>
            </a:r>
            <a:r>
              <a:rPr lang="en-US" sz="1130" dirty="0"/>
              <a:t> </a:t>
            </a:r>
            <a:r>
              <a:rPr lang="en-US" sz="1130" dirty="0" err="1"/>
              <a:t>completa</a:t>
            </a:r>
            <a:r>
              <a:rPr lang="en-US" sz="1130" dirty="0"/>
              <a:t> a </a:t>
            </a:r>
            <a:r>
              <a:rPr lang="en-US" sz="1130" dirty="0" err="1"/>
              <a:t>aplicatiilor</a:t>
            </a:r>
            <a:r>
              <a:rPr lang="en-US" sz="1130" dirty="0"/>
              <a:t> de </a:t>
            </a:r>
            <a:r>
              <a:rPr lang="en-US" sz="1130" dirty="0" err="1"/>
              <a:t>mobil</a:t>
            </a:r>
            <a:r>
              <a:rPr lang="en-US" sz="1130" dirty="0"/>
              <a:t> </a:t>
            </a:r>
            <a:r>
              <a:rPr lang="en-US" sz="1130" dirty="0" err="1"/>
              <a:t>si</a:t>
            </a:r>
            <a:r>
              <a:rPr lang="en-US" sz="1130" dirty="0"/>
              <a:t> internet banking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extinderea</a:t>
            </a:r>
            <a:r>
              <a:rPr lang="en-US" sz="1130" dirty="0"/>
              <a:t> continua a </a:t>
            </a:r>
            <a:r>
              <a:rPr lang="en-US" sz="1130" dirty="0" err="1"/>
              <a:t>functionalitatilor</a:t>
            </a:r>
            <a:r>
              <a:rPr lang="en-US" sz="1130" dirty="0"/>
              <a:t> 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Construirea</a:t>
            </a:r>
            <a:r>
              <a:rPr lang="en-US" sz="1130" dirty="0"/>
              <a:t> </a:t>
            </a:r>
            <a:r>
              <a:rPr lang="en-US" sz="1130" dirty="0" err="1"/>
              <a:t>capabilitatilor</a:t>
            </a:r>
            <a:r>
              <a:rPr lang="en-US" sz="1130" dirty="0"/>
              <a:t> de </a:t>
            </a:r>
            <a:r>
              <a:rPr lang="en-US" sz="1130" dirty="0" err="1"/>
              <a:t>vanzare</a:t>
            </a:r>
            <a:r>
              <a:rPr lang="en-US" sz="1130" dirty="0"/>
              <a:t> </a:t>
            </a:r>
            <a:r>
              <a:rPr lang="en-US" sz="1130" dirty="0" err="1"/>
              <a:t>digitala</a:t>
            </a:r>
            <a:r>
              <a:rPr lang="en-US" sz="1130" dirty="0"/>
              <a:t>, initial, </a:t>
            </a:r>
            <a:r>
              <a:rPr lang="en-US" sz="1130" dirty="0" err="1"/>
              <a:t>digitalizand</a:t>
            </a:r>
            <a:r>
              <a:rPr lang="en-US" sz="1130" dirty="0"/>
              <a:t> </a:t>
            </a:r>
            <a:r>
              <a:rPr lang="en-US" sz="1130" dirty="0" err="1"/>
              <a:t>complet</a:t>
            </a:r>
            <a:r>
              <a:rPr lang="en-US" sz="1130" dirty="0"/>
              <a:t> </a:t>
            </a:r>
            <a:r>
              <a:rPr lang="en-US" sz="1130" dirty="0" err="1"/>
              <a:t>inrolarea</a:t>
            </a:r>
            <a:r>
              <a:rPr lang="en-US" sz="1130" dirty="0"/>
              <a:t> </a:t>
            </a:r>
            <a:r>
              <a:rPr lang="en-US" sz="1130" dirty="0" err="1"/>
              <a:t>clientilor</a:t>
            </a:r>
            <a:r>
              <a:rPr lang="en-US" sz="1130" dirty="0"/>
              <a:t>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creditarea</a:t>
            </a:r>
            <a:r>
              <a:rPr lang="en-US" sz="1130" dirty="0"/>
              <a:t> de </a:t>
            </a:r>
            <a:r>
              <a:rPr lang="en-US" sz="1130" dirty="0" err="1"/>
              <a:t>consum</a:t>
            </a:r>
            <a:r>
              <a:rPr lang="en-US" sz="1130" dirty="0"/>
              <a:t>, ulterior </a:t>
            </a:r>
            <a:r>
              <a:rPr lang="en-US" sz="1130" dirty="0" err="1"/>
              <a:t>extinzand</a:t>
            </a:r>
            <a:r>
              <a:rPr lang="en-US" sz="1130" dirty="0"/>
              <a:t> </a:t>
            </a:r>
            <a:r>
              <a:rPr lang="en-US" sz="1130" dirty="0" err="1"/>
              <a:t>catre</a:t>
            </a:r>
            <a:r>
              <a:rPr lang="en-US" sz="1130" dirty="0"/>
              <a:t> </a:t>
            </a:r>
            <a:r>
              <a:rPr lang="en-US" sz="1130" dirty="0" err="1"/>
              <a:t>produse</a:t>
            </a:r>
            <a:r>
              <a:rPr lang="en-US" sz="1130" dirty="0"/>
              <a:t> </a:t>
            </a:r>
            <a:r>
              <a:rPr lang="en-US" sz="1130" dirty="0" err="1"/>
              <a:t>mai</a:t>
            </a:r>
            <a:r>
              <a:rPr lang="en-US" sz="1130" dirty="0"/>
              <a:t> </a:t>
            </a:r>
            <a:r>
              <a:rPr lang="en-US" sz="1130" dirty="0" err="1"/>
              <a:t>complexe</a:t>
            </a:r>
            <a:endParaRPr lang="en-US" sz="1130" dirty="0"/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Dezvoltarea</a:t>
            </a:r>
            <a:r>
              <a:rPr lang="en-US" sz="1130" dirty="0"/>
              <a:t> </a:t>
            </a:r>
            <a:r>
              <a:rPr lang="en-US" sz="1130" dirty="0" err="1"/>
              <a:t>unei</a:t>
            </a:r>
            <a:r>
              <a:rPr lang="en-US" sz="1130" dirty="0"/>
              <a:t> set </a:t>
            </a:r>
            <a:r>
              <a:rPr lang="en-US" sz="1130" dirty="0" err="1"/>
              <a:t>complet</a:t>
            </a:r>
            <a:r>
              <a:rPr lang="en-US" sz="1130" dirty="0"/>
              <a:t> de </a:t>
            </a:r>
            <a:r>
              <a:rPr lang="en-US" sz="1130" dirty="0" err="1"/>
              <a:t>capabilitati</a:t>
            </a:r>
            <a:r>
              <a:rPr lang="en-US" sz="1130" dirty="0"/>
              <a:t> </a:t>
            </a:r>
            <a:r>
              <a:rPr lang="en-US" sz="1130" dirty="0" err="1"/>
              <a:t>digitale</a:t>
            </a:r>
            <a:r>
              <a:rPr lang="en-US" sz="1130" dirty="0"/>
              <a:t>, </a:t>
            </a:r>
            <a:r>
              <a:rPr lang="en-US" sz="1130" dirty="0" err="1"/>
              <a:t>asigurand</a:t>
            </a:r>
            <a:r>
              <a:rPr lang="en-US" sz="1130" dirty="0"/>
              <a:t>-ne ca </a:t>
            </a:r>
            <a:r>
              <a:rPr lang="en-US" sz="1130" dirty="0" err="1"/>
              <a:t>marea</a:t>
            </a:r>
            <a:r>
              <a:rPr lang="en-US" sz="1130" dirty="0"/>
              <a:t> </a:t>
            </a:r>
            <a:r>
              <a:rPr lang="en-US" sz="1130" dirty="0" err="1"/>
              <a:t>majoritate</a:t>
            </a:r>
            <a:r>
              <a:rPr lang="en-US" sz="1130" dirty="0"/>
              <a:t> a </a:t>
            </a:r>
            <a:r>
              <a:rPr lang="en-US" sz="1130" dirty="0" err="1"/>
              <a:t>tranzactiilor</a:t>
            </a:r>
            <a:r>
              <a:rPr lang="en-US" sz="1130" dirty="0"/>
              <a:t> </a:t>
            </a:r>
            <a:r>
              <a:rPr lang="en-US" sz="1130" dirty="0" err="1"/>
              <a:t>clientilor</a:t>
            </a:r>
            <a:r>
              <a:rPr lang="en-US" sz="1130" dirty="0"/>
              <a:t> se </a:t>
            </a:r>
            <a:r>
              <a:rPr lang="en-US" sz="1130" dirty="0" err="1"/>
              <a:t>realizeaza</a:t>
            </a:r>
            <a:r>
              <a:rPr lang="en-US" sz="1130" dirty="0"/>
              <a:t> </a:t>
            </a:r>
            <a:r>
              <a:rPr lang="en-US" sz="1130" dirty="0" err="1"/>
              <a:t>prin</a:t>
            </a:r>
            <a:r>
              <a:rPr lang="en-US" sz="1130" dirty="0"/>
              <a:t> </a:t>
            </a:r>
            <a:r>
              <a:rPr lang="en-US" sz="1130" dirty="0" err="1"/>
              <a:t>aplicatia</a:t>
            </a:r>
            <a:r>
              <a:rPr lang="en-US" sz="1130" dirty="0"/>
              <a:t> de </a:t>
            </a:r>
            <a:r>
              <a:rPr lang="en-US" sz="1130" dirty="0" err="1"/>
              <a:t>mobil</a:t>
            </a:r>
            <a:r>
              <a:rPr lang="en-US" sz="1130" dirty="0"/>
              <a:t>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420067" y="4991047"/>
            <a:ext cx="5633474" cy="10948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fr-FR" sz="1130" dirty="0" err="1"/>
              <a:t>Abordarea</a:t>
            </a:r>
            <a:r>
              <a:rPr lang="fr-FR" sz="1130" dirty="0"/>
              <a:t> </a:t>
            </a:r>
            <a:r>
              <a:rPr lang="fr-FR" sz="1130" dirty="0" err="1"/>
              <a:t>clientilor</a:t>
            </a:r>
            <a:r>
              <a:rPr lang="fr-FR" sz="1130" dirty="0"/>
              <a:t> </a:t>
            </a:r>
            <a:r>
              <a:rPr lang="fr-FR" sz="1130" dirty="0" err="1"/>
              <a:t>prin</a:t>
            </a:r>
            <a:r>
              <a:rPr lang="fr-FR" sz="1130" dirty="0"/>
              <a:t> </a:t>
            </a:r>
            <a:r>
              <a:rPr lang="fr-FR" sz="1130" dirty="0" err="1"/>
              <a:t>diferite</a:t>
            </a:r>
            <a:r>
              <a:rPr lang="fr-FR" sz="1130" dirty="0"/>
              <a:t> </a:t>
            </a:r>
            <a:r>
              <a:rPr lang="fr-FR" sz="1130" dirty="0" err="1"/>
              <a:t>canale</a:t>
            </a:r>
            <a:r>
              <a:rPr lang="fr-FR" sz="1130" dirty="0"/>
              <a:t> </a:t>
            </a:r>
            <a:r>
              <a:rPr lang="fr-FR" sz="1130" dirty="0" err="1"/>
              <a:t>printr</a:t>
            </a:r>
            <a:r>
              <a:rPr lang="fr-FR" sz="1130" dirty="0"/>
              <a:t>-o </a:t>
            </a:r>
            <a:r>
              <a:rPr lang="fr-FR" sz="1130" dirty="0" err="1"/>
              <a:t>experienta</a:t>
            </a:r>
            <a:r>
              <a:rPr lang="fr-FR" sz="1130" dirty="0"/>
              <a:t> </a:t>
            </a:r>
            <a:r>
              <a:rPr lang="fr-FR" sz="1130" dirty="0" err="1"/>
              <a:t>sincronizata</a:t>
            </a:r>
            <a:r>
              <a:rPr lang="fr-FR" sz="1130" dirty="0"/>
              <a:t>, </a:t>
            </a:r>
            <a:r>
              <a:rPr lang="fr-FR" sz="1130" dirty="0" err="1"/>
              <a:t>asigurand</a:t>
            </a:r>
            <a:r>
              <a:rPr lang="fr-FR" sz="1130" dirty="0"/>
              <a:t> o </a:t>
            </a:r>
            <a:r>
              <a:rPr lang="fr-FR" sz="1130" dirty="0" err="1"/>
              <a:t>comunicare</a:t>
            </a:r>
            <a:r>
              <a:rPr lang="fr-FR" sz="1130" dirty="0"/>
              <a:t> </a:t>
            </a:r>
            <a:r>
              <a:rPr lang="fr-FR" sz="1130" dirty="0" err="1"/>
              <a:t>consecventa</a:t>
            </a:r>
            <a:r>
              <a:rPr lang="fr-FR" sz="1130" dirty="0"/>
              <a:t> </a:t>
            </a:r>
            <a:endParaRPr lang="en-US" sz="1130" dirty="0"/>
          </a:p>
          <a:p>
            <a:pPr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Construirea</a:t>
            </a:r>
            <a:r>
              <a:rPr lang="en-US" sz="1130" dirty="0"/>
              <a:t> </a:t>
            </a:r>
            <a:r>
              <a:rPr lang="en-US" sz="1130" dirty="0" err="1"/>
              <a:t>unor</a:t>
            </a:r>
            <a:r>
              <a:rPr lang="en-US" sz="1130" dirty="0"/>
              <a:t> </a:t>
            </a:r>
            <a:r>
              <a:rPr lang="en-US" sz="1130" dirty="0" err="1"/>
              <a:t>experiente</a:t>
            </a:r>
            <a:r>
              <a:rPr lang="en-US" sz="1130" dirty="0"/>
              <a:t> </a:t>
            </a:r>
            <a:r>
              <a:rPr lang="en-US" sz="1130" dirty="0" err="1"/>
              <a:t>omni</a:t>
            </a:r>
            <a:r>
              <a:rPr lang="en-US" sz="1130" dirty="0"/>
              <a:t>-channel </a:t>
            </a:r>
            <a:r>
              <a:rPr lang="en-US" sz="1130" dirty="0" smtClean="0"/>
              <a:t> </a:t>
            </a:r>
            <a:r>
              <a:rPr lang="en-US" sz="1130" dirty="0" err="1"/>
              <a:t>pentru</a:t>
            </a:r>
            <a:r>
              <a:rPr lang="en-US" sz="1130" dirty="0"/>
              <a:t> client </a:t>
            </a:r>
            <a:r>
              <a:rPr lang="en-US" sz="1130" dirty="0" err="1"/>
              <a:t>placute</a:t>
            </a:r>
            <a:r>
              <a:rPr lang="en-US" sz="1130" dirty="0"/>
              <a:t>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imbunatatite</a:t>
            </a:r>
            <a:r>
              <a:rPr lang="en-US" sz="1130" dirty="0"/>
              <a:t>, in </a:t>
            </a:r>
            <a:r>
              <a:rPr lang="en-US" sz="1130" dirty="0" err="1"/>
              <a:t>momente</a:t>
            </a:r>
            <a:r>
              <a:rPr lang="en-US" sz="1130" dirty="0"/>
              <a:t> </a:t>
            </a:r>
            <a:r>
              <a:rPr lang="en-US" sz="1130" dirty="0" err="1"/>
              <a:t>cheie</a:t>
            </a:r>
            <a:r>
              <a:rPr lang="en-US" sz="1130" dirty="0"/>
              <a:t>, </a:t>
            </a:r>
            <a:r>
              <a:rPr lang="en-US" sz="1130" dirty="0" err="1"/>
              <a:t>sustinute</a:t>
            </a:r>
            <a:r>
              <a:rPr lang="en-US" sz="1130" dirty="0"/>
              <a:t> de un </a:t>
            </a:r>
            <a:r>
              <a:rPr lang="en-US" sz="1130" dirty="0" err="1"/>
              <a:t>continut</a:t>
            </a:r>
            <a:r>
              <a:rPr lang="en-US" sz="1130" dirty="0"/>
              <a:t> </a:t>
            </a:r>
            <a:r>
              <a:rPr lang="en-US" sz="1130" dirty="0" err="1"/>
              <a:t>integrat</a:t>
            </a:r>
            <a:r>
              <a:rPr lang="en-US" sz="1130" dirty="0"/>
              <a:t> </a:t>
            </a:r>
            <a:r>
              <a:rPr lang="en-US" sz="1130" dirty="0" err="1"/>
              <a:t>personalizat</a:t>
            </a:r>
            <a:r>
              <a:rPr lang="en-US" sz="1130" dirty="0"/>
              <a:t> </a:t>
            </a:r>
          </a:p>
          <a:p>
            <a:pPr lvl="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130" dirty="0" err="1"/>
              <a:t>Construirea</a:t>
            </a:r>
            <a:r>
              <a:rPr lang="en-US" sz="1130" dirty="0"/>
              <a:t> </a:t>
            </a:r>
            <a:r>
              <a:rPr lang="en-US" sz="1130" dirty="0" err="1"/>
              <a:t>capabilitatilor</a:t>
            </a:r>
            <a:r>
              <a:rPr lang="en-US" sz="1130" dirty="0"/>
              <a:t> de </a:t>
            </a:r>
            <a:r>
              <a:rPr lang="en-US" sz="1130" dirty="0" err="1"/>
              <a:t>vanzari</a:t>
            </a:r>
            <a:r>
              <a:rPr lang="en-US" sz="1130" dirty="0"/>
              <a:t>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tranzactii</a:t>
            </a:r>
            <a:r>
              <a:rPr lang="en-US" sz="1130" dirty="0"/>
              <a:t> in Contact Center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extinderea</a:t>
            </a:r>
            <a:r>
              <a:rPr lang="en-US" sz="1130" dirty="0"/>
              <a:t> </a:t>
            </a:r>
            <a:r>
              <a:rPr lang="en-US" sz="1130" dirty="0" err="1"/>
              <a:t>gamei</a:t>
            </a:r>
            <a:r>
              <a:rPr lang="en-US" sz="1130" dirty="0"/>
              <a:t> de </a:t>
            </a:r>
            <a:r>
              <a:rPr lang="en-US" sz="1130" dirty="0" err="1"/>
              <a:t>produse</a:t>
            </a:r>
            <a:r>
              <a:rPr lang="en-US" sz="1130" dirty="0"/>
              <a:t> </a:t>
            </a:r>
            <a:r>
              <a:rPr lang="en-US" sz="1130" dirty="0" err="1"/>
              <a:t>si</a:t>
            </a:r>
            <a:r>
              <a:rPr lang="en-US" sz="1130" dirty="0"/>
              <a:t> </a:t>
            </a:r>
            <a:r>
              <a:rPr lang="en-US" sz="1130" dirty="0" err="1"/>
              <a:t>servicii</a:t>
            </a:r>
            <a:r>
              <a:rPr lang="en-US" sz="1130" dirty="0"/>
              <a:t> </a:t>
            </a:r>
            <a:r>
              <a:rPr lang="en-US" sz="1130" dirty="0" err="1"/>
              <a:t>oferite</a:t>
            </a:r>
            <a:r>
              <a:rPr lang="en-US" sz="1130" dirty="0"/>
              <a:t> </a:t>
            </a:r>
            <a:r>
              <a:rPr lang="en-US" sz="1130" dirty="0" err="1"/>
              <a:t>prin</a:t>
            </a:r>
            <a:r>
              <a:rPr lang="en-US" sz="1130" dirty="0"/>
              <a:t> </a:t>
            </a:r>
            <a:r>
              <a:rPr lang="en-US" sz="1130" dirty="0" err="1"/>
              <a:t>telefon</a:t>
            </a:r>
            <a:r>
              <a:rPr lang="en-US" sz="1130" dirty="0"/>
              <a:t> </a:t>
            </a:r>
          </a:p>
        </p:txBody>
      </p:sp>
      <p:sp>
        <p:nvSpPr>
          <p:cNvPr id="25" name="Titre 31"/>
          <p:cNvSpPr>
            <a:spLocks noGrp="1"/>
          </p:cNvSpPr>
          <p:nvPr>
            <p:ph type="title"/>
          </p:nvPr>
        </p:nvSpPr>
        <p:spPr>
          <a:xfrm>
            <a:off x="325439" y="396533"/>
            <a:ext cx="8497887" cy="276999"/>
          </a:xfrm>
        </p:spPr>
        <p:txBody>
          <a:bodyPr vert="horz"/>
          <a:lstStyle/>
          <a:p>
            <a:r>
              <a:rPr lang="fr-FR" kern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NSFORMAREA MODELULUI DE AFACERI | </a:t>
            </a:r>
            <a:r>
              <a:rPr lang="fr-FR" kern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TAIL</a:t>
            </a:r>
            <a:endParaRPr lang="fr-FR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201774" y="802764"/>
            <a:ext cx="2572351" cy="420024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algn="l"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400" b="1" cap="all" dirty="0" smtClean="0">
                <a:solidFill>
                  <a:prstClr val="white"/>
                </a:solidFill>
              </a:rPr>
              <a:t>OBIECTIVE  STRATEGICE</a:t>
            </a:r>
            <a:endParaRPr lang="en-US" sz="1400" b="1" cap="all" dirty="0">
              <a:solidFill>
                <a:prstClr val="white"/>
              </a:solidFill>
            </a:endParaRPr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3420069" y="813455"/>
            <a:ext cx="5633472" cy="342683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500" b="1" cap="all" dirty="0" smtClean="0">
                <a:solidFill>
                  <a:prstClr val="white"/>
                </a:solidFill>
              </a:rPr>
              <a:t>AMBITII PE TERMEN MEDIU SI LUNG</a:t>
            </a:r>
            <a:endParaRPr lang="en-US" sz="1500" b="1" cap="all" dirty="0">
              <a:solidFill>
                <a:prstClr val="white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21812" y="1273041"/>
            <a:ext cx="2530836" cy="8710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marL="0" algn="l">
              <a:spcBef>
                <a:spcPts val="400"/>
              </a:spcBef>
              <a:buClr>
                <a:schemeClr val="bg2"/>
              </a:buClr>
            </a:pPr>
            <a:r>
              <a:rPr lang="en-US" sz="1500" b="1" dirty="0" err="1"/>
              <a:t>Abordare</a:t>
            </a:r>
            <a:r>
              <a:rPr lang="en-US" sz="1500" b="1" dirty="0"/>
              <a:t> </a:t>
            </a:r>
            <a:r>
              <a:rPr lang="en-US" sz="1500" b="1" dirty="0" err="1"/>
              <a:t>comerciala</a:t>
            </a:r>
            <a:r>
              <a:rPr lang="en-US" sz="1500" b="1" dirty="0"/>
              <a:t> </a:t>
            </a:r>
            <a:r>
              <a:rPr lang="en-US" sz="1500" b="1" dirty="0" err="1"/>
              <a:t>personalizata</a:t>
            </a:r>
            <a:r>
              <a:rPr lang="en-US" sz="1500" b="1" dirty="0"/>
              <a:t> </a:t>
            </a:r>
            <a:r>
              <a:rPr lang="en-US" sz="1500" b="1" dirty="0" err="1"/>
              <a:t>bazata</a:t>
            </a:r>
            <a:r>
              <a:rPr lang="en-US" sz="1500" b="1" dirty="0"/>
              <a:t> </a:t>
            </a:r>
            <a:r>
              <a:rPr lang="en-US" sz="1500" b="1" dirty="0" err="1"/>
              <a:t>pe</a:t>
            </a:r>
            <a:r>
              <a:rPr lang="en-US" sz="1500" b="1" dirty="0"/>
              <a:t> </a:t>
            </a:r>
            <a:r>
              <a:rPr lang="en-US" sz="1500" b="1" dirty="0" err="1"/>
              <a:t>segmentare</a:t>
            </a:r>
            <a:r>
              <a:rPr lang="en-US" sz="1500" b="1" dirty="0"/>
              <a:t> </a:t>
            </a:r>
            <a:r>
              <a:rPr lang="en-US" sz="1500" b="1" dirty="0" err="1"/>
              <a:t>comportamentala</a:t>
            </a:r>
            <a:endParaRPr lang="en-US" sz="1500" kern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35891" y="2289475"/>
            <a:ext cx="2510902" cy="13616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500" b="1" dirty="0" err="1"/>
              <a:t>Orientarea</a:t>
            </a:r>
            <a:r>
              <a:rPr lang="en-US" sz="1500" b="1" dirty="0"/>
              <a:t> </a:t>
            </a:r>
            <a:r>
              <a:rPr lang="en-US" sz="1500" b="1" dirty="0" err="1"/>
              <a:t>agentiilor</a:t>
            </a:r>
            <a:r>
              <a:rPr lang="en-US" sz="1500" b="1" dirty="0"/>
              <a:t> </a:t>
            </a:r>
            <a:r>
              <a:rPr lang="en-US" sz="1500" b="1" dirty="0" err="1"/>
              <a:t>catre</a:t>
            </a:r>
            <a:r>
              <a:rPr lang="en-US" sz="1500" b="1" dirty="0"/>
              <a:t> </a:t>
            </a:r>
            <a:r>
              <a:rPr lang="en-US" sz="1500" b="1" dirty="0" err="1"/>
              <a:t>servicii</a:t>
            </a:r>
            <a:r>
              <a:rPr lang="en-US" sz="1500" b="1" dirty="0"/>
              <a:t> cu </a:t>
            </a:r>
            <a:r>
              <a:rPr lang="en-US" sz="1500" b="1" dirty="0" err="1"/>
              <a:t>valoare</a:t>
            </a:r>
            <a:r>
              <a:rPr lang="en-US" sz="1500" b="1" dirty="0"/>
              <a:t> </a:t>
            </a:r>
            <a:r>
              <a:rPr lang="en-US" sz="1500" b="1" dirty="0" err="1"/>
              <a:t>adaugata</a:t>
            </a:r>
            <a:r>
              <a:rPr lang="en-US" sz="1500" b="1" dirty="0"/>
              <a:t>, </a:t>
            </a:r>
            <a:r>
              <a:rPr lang="en-US" sz="1500" dirty="0" err="1"/>
              <a:t>migrarea</a:t>
            </a:r>
            <a:r>
              <a:rPr lang="en-US" sz="1500" dirty="0"/>
              <a:t> </a:t>
            </a:r>
            <a:r>
              <a:rPr lang="en-US" sz="1500" dirty="0" err="1"/>
              <a:t>tranzactiilor</a:t>
            </a:r>
            <a:r>
              <a:rPr lang="en-US" sz="1500" dirty="0"/>
              <a:t> </a:t>
            </a:r>
            <a:r>
              <a:rPr lang="en-US" sz="1500" dirty="0" err="1"/>
              <a:t>catre</a:t>
            </a:r>
            <a:r>
              <a:rPr lang="en-US" sz="1500" dirty="0"/>
              <a:t> </a:t>
            </a:r>
            <a:r>
              <a:rPr lang="en-US" sz="1500" dirty="0" err="1"/>
              <a:t>aplicatia</a:t>
            </a:r>
            <a:r>
              <a:rPr lang="en-US" sz="1500" dirty="0"/>
              <a:t> de </a:t>
            </a:r>
            <a:r>
              <a:rPr lang="en-US" sz="1500" dirty="0" err="1"/>
              <a:t>mobil</a:t>
            </a:r>
            <a:r>
              <a:rPr lang="en-US" sz="1500" dirty="0"/>
              <a:t> </a:t>
            </a:r>
            <a:r>
              <a:rPr lang="en-US" sz="1500" dirty="0" err="1"/>
              <a:t>sau</a:t>
            </a:r>
            <a:r>
              <a:rPr lang="en-US" sz="1500" dirty="0"/>
              <a:t> </a:t>
            </a:r>
            <a:r>
              <a:rPr lang="en-US" sz="1500" dirty="0" err="1"/>
              <a:t>aparatele</a:t>
            </a:r>
            <a:r>
              <a:rPr lang="en-US" sz="1500" dirty="0"/>
              <a:t> self-servic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56264" y="3746288"/>
            <a:ext cx="2470212" cy="11498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500" b="1" dirty="0" err="1"/>
              <a:t>Construirea</a:t>
            </a:r>
            <a:r>
              <a:rPr lang="en-US" sz="1500" b="1" dirty="0"/>
              <a:t> </a:t>
            </a:r>
            <a:r>
              <a:rPr lang="en-US" sz="1500" b="1" dirty="0" err="1"/>
              <a:t>platformei</a:t>
            </a:r>
            <a:r>
              <a:rPr lang="en-US" sz="1500" b="1" dirty="0"/>
              <a:t> </a:t>
            </a:r>
            <a:r>
              <a:rPr lang="en-US" sz="1500" b="1" dirty="0" err="1"/>
              <a:t>digitale</a:t>
            </a:r>
            <a:r>
              <a:rPr lang="en-US" sz="1500" b="1" dirty="0"/>
              <a:t> </a:t>
            </a:r>
            <a:r>
              <a:rPr lang="en-US" sz="1500" dirty="0" err="1"/>
              <a:t>ce</a:t>
            </a:r>
            <a:r>
              <a:rPr lang="en-US" sz="1500" dirty="0"/>
              <a:t> </a:t>
            </a:r>
            <a:r>
              <a:rPr lang="en-US" sz="1500" dirty="0" err="1"/>
              <a:t>va</a:t>
            </a:r>
            <a:r>
              <a:rPr lang="en-US" sz="1500" dirty="0"/>
              <a:t> </a:t>
            </a:r>
            <a:r>
              <a:rPr lang="en-US" sz="1500" dirty="0" err="1"/>
              <a:t>oferi</a:t>
            </a:r>
            <a:r>
              <a:rPr lang="en-US" sz="1500" dirty="0"/>
              <a:t> o </a:t>
            </a:r>
            <a:r>
              <a:rPr lang="en-US" sz="1500" dirty="0" err="1"/>
              <a:t>gama</a:t>
            </a:r>
            <a:r>
              <a:rPr lang="en-US" sz="1500" dirty="0"/>
              <a:t> </a:t>
            </a:r>
            <a:r>
              <a:rPr lang="en-US" sz="1500" dirty="0" err="1"/>
              <a:t>completa</a:t>
            </a:r>
            <a:r>
              <a:rPr lang="en-US" sz="1500" dirty="0"/>
              <a:t> de </a:t>
            </a:r>
            <a:r>
              <a:rPr lang="en-US" sz="1500" dirty="0" err="1"/>
              <a:t>functionalitati</a:t>
            </a:r>
            <a:r>
              <a:rPr lang="en-US" sz="1500" dirty="0"/>
              <a:t> </a:t>
            </a:r>
            <a:r>
              <a:rPr lang="en-US" sz="1500" dirty="0" err="1"/>
              <a:t>si</a:t>
            </a:r>
            <a:r>
              <a:rPr lang="en-US" sz="1500" dirty="0"/>
              <a:t> </a:t>
            </a:r>
            <a:r>
              <a:rPr lang="en-US" sz="1500" dirty="0" err="1"/>
              <a:t>capacitati</a:t>
            </a:r>
            <a:r>
              <a:rPr lang="en-US" sz="1500" dirty="0"/>
              <a:t> de </a:t>
            </a:r>
            <a:r>
              <a:rPr lang="en-US" sz="1500" dirty="0" err="1"/>
              <a:t>vanzare</a:t>
            </a:r>
            <a:endParaRPr lang="en-US" sz="150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62787" y="4991359"/>
            <a:ext cx="2448239" cy="10944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algn="l">
              <a:spcBef>
                <a:spcPts val="400"/>
              </a:spcBef>
              <a:buClr>
                <a:schemeClr val="bg2"/>
              </a:buClr>
            </a:pPr>
            <a:r>
              <a:rPr lang="en-US" sz="1500" b="1" dirty="0" err="1"/>
              <a:t>Adevarate</a:t>
            </a:r>
            <a:r>
              <a:rPr lang="en-US" sz="1500" b="1" dirty="0"/>
              <a:t> </a:t>
            </a:r>
            <a:r>
              <a:rPr lang="en-US" sz="1500" b="1" dirty="0" err="1"/>
              <a:t>experiente</a:t>
            </a:r>
            <a:r>
              <a:rPr lang="en-US" sz="1500" b="1" dirty="0"/>
              <a:t> </a:t>
            </a:r>
            <a:r>
              <a:rPr lang="en-US" sz="1500" b="1" dirty="0" err="1"/>
              <a:t>omni</a:t>
            </a:r>
            <a:r>
              <a:rPr lang="en-US" sz="1500" b="1" dirty="0"/>
              <a:t>-channel </a:t>
            </a:r>
            <a:r>
              <a:rPr lang="en-US" sz="1500" dirty="0" err="1"/>
              <a:t>pe</a:t>
            </a:r>
            <a:r>
              <a:rPr lang="en-US" sz="1500" dirty="0"/>
              <a:t> </a:t>
            </a:r>
            <a:r>
              <a:rPr lang="en-US" sz="1500" dirty="0" err="1"/>
              <a:t>toate</a:t>
            </a:r>
            <a:r>
              <a:rPr lang="en-US" sz="1500" dirty="0"/>
              <a:t> </a:t>
            </a:r>
            <a:r>
              <a:rPr lang="en-US" sz="1500" dirty="0" err="1"/>
              <a:t>canalele</a:t>
            </a:r>
            <a:r>
              <a:rPr lang="en-US" sz="1500" dirty="0"/>
              <a:t>, </a:t>
            </a:r>
            <a:r>
              <a:rPr lang="en-US" sz="1500" dirty="0" err="1" smtClean="0"/>
              <a:t>sustinute</a:t>
            </a:r>
            <a:r>
              <a:rPr lang="en-US" sz="1500" dirty="0" smtClean="0"/>
              <a:t> </a:t>
            </a:r>
            <a:r>
              <a:rPr lang="en-US" sz="1500" dirty="0"/>
              <a:t>de un </a:t>
            </a:r>
            <a:r>
              <a:rPr lang="en-US" sz="1500" dirty="0" err="1"/>
              <a:t>continut</a:t>
            </a:r>
            <a:r>
              <a:rPr lang="en-US" sz="1500" dirty="0"/>
              <a:t> </a:t>
            </a:r>
            <a:r>
              <a:rPr lang="en-US" sz="1500" dirty="0" err="1"/>
              <a:t>personalizat</a:t>
            </a:r>
            <a:endParaRPr lang="en-US" sz="1500" dirty="0"/>
          </a:p>
        </p:txBody>
      </p:sp>
      <p:sp>
        <p:nvSpPr>
          <p:cNvPr id="34" name="Freeform 4851">
            <a:extLst>
              <a:ext uri="{FF2B5EF4-FFF2-40B4-BE49-F238E27FC236}">
                <a16:creationId xmlns:a16="http://schemas.microsoft.com/office/drawing/2014/main" id="{65437B87-B999-4F70-9039-4D8A5658D286}"/>
              </a:ext>
            </a:extLst>
          </p:cNvPr>
          <p:cNvSpPr>
            <a:spLocks noEditPoints="1"/>
          </p:cNvSpPr>
          <p:nvPr/>
        </p:nvSpPr>
        <p:spPr bwMode="auto">
          <a:xfrm>
            <a:off x="2871661" y="1515114"/>
            <a:ext cx="333498" cy="333498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oup 22"/>
          <p:cNvGrpSpPr>
            <a:grpSpLocks noChangeAspect="1"/>
          </p:cNvGrpSpPr>
          <p:nvPr/>
        </p:nvGrpSpPr>
        <p:grpSpPr bwMode="auto">
          <a:xfrm>
            <a:off x="2732291" y="4036989"/>
            <a:ext cx="665965" cy="500505"/>
            <a:chOff x="2016" y="1651"/>
            <a:chExt cx="458" cy="796"/>
          </a:xfrm>
          <a:solidFill>
            <a:srgbClr val="C00000"/>
          </a:solidFill>
        </p:grpSpPr>
        <p:sp>
          <p:nvSpPr>
            <p:cNvPr id="36" name="Freeform 23"/>
            <p:cNvSpPr>
              <a:spLocks noEditPoints="1"/>
            </p:cNvSpPr>
            <p:nvPr/>
          </p:nvSpPr>
          <p:spPr bwMode="auto">
            <a:xfrm>
              <a:off x="2080" y="1776"/>
              <a:ext cx="394" cy="585"/>
            </a:xfrm>
            <a:custGeom>
              <a:avLst/>
              <a:gdLst/>
              <a:ahLst/>
              <a:cxnLst>
                <a:cxn ang="0">
                  <a:pos x="903" y="75"/>
                </a:cxn>
                <a:cxn ang="0">
                  <a:pos x="1010" y="372"/>
                </a:cxn>
                <a:cxn ang="0">
                  <a:pos x="912" y="552"/>
                </a:cxn>
                <a:cxn ang="0">
                  <a:pos x="989" y="605"/>
                </a:cxn>
                <a:cxn ang="0">
                  <a:pos x="1003" y="891"/>
                </a:cxn>
                <a:cxn ang="0">
                  <a:pos x="961" y="1045"/>
                </a:cxn>
                <a:cxn ang="0">
                  <a:pos x="842" y="1241"/>
                </a:cxn>
                <a:cxn ang="0">
                  <a:pos x="611" y="1420"/>
                </a:cxn>
                <a:cxn ang="0">
                  <a:pos x="413" y="1521"/>
                </a:cxn>
                <a:cxn ang="0">
                  <a:pos x="4" y="1212"/>
                </a:cxn>
                <a:cxn ang="0">
                  <a:pos x="19" y="959"/>
                </a:cxn>
                <a:cxn ang="0">
                  <a:pos x="71" y="515"/>
                </a:cxn>
                <a:cxn ang="0">
                  <a:pos x="217" y="482"/>
                </a:cxn>
                <a:cxn ang="0">
                  <a:pos x="283" y="1"/>
                </a:cxn>
                <a:cxn ang="0">
                  <a:pos x="274" y="842"/>
                </a:cxn>
                <a:cxn ang="0">
                  <a:pos x="369" y="1046"/>
                </a:cxn>
                <a:cxn ang="0">
                  <a:pos x="786" y="1041"/>
                </a:cxn>
                <a:cxn ang="0">
                  <a:pos x="730" y="909"/>
                </a:cxn>
                <a:cxn ang="0">
                  <a:pos x="316" y="885"/>
                </a:cxn>
                <a:cxn ang="0">
                  <a:pos x="344" y="615"/>
                </a:cxn>
                <a:cxn ang="0">
                  <a:pos x="785" y="618"/>
                </a:cxn>
                <a:cxn ang="0">
                  <a:pos x="325" y="638"/>
                </a:cxn>
                <a:cxn ang="0">
                  <a:pos x="319" y="890"/>
                </a:cxn>
                <a:cxn ang="0">
                  <a:pos x="737" y="905"/>
                </a:cxn>
                <a:cxn ang="0">
                  <a:pos x="793" y="826"/>
                </a:cxn>
                <a:cxn ang="0">
                  <a:pos x="777" y="718"/>
                </a:cxn>
                <a:cxn ang="0">
                  <a:pos x="830" y="648"/>
                </a:cxn>
                <a:cxn ang="0">
                  <a:pos x="836" y="407"/>
                </a:cxn>
                <a:cxn ang="0">
                  <a:pos x="300" y="162"/>
                </a:cxn>
                <a:cxn ang="0">
                  <a:pos x="219" y="711"/>
                </a:cxn>
                <a:cxn ang="0">
                  <a:pos x="197" y="507"/>
                </a:cxn>
                <a:cxn ang="0">
                  <a:pos x="99" y="679"/>
                </a:cxn>
                <a:cxn ang="0">
                  <a:pos x="51" y="1140"/>
                </a:cxn>
                <a:cxn ang="0">
                  <a:pos x="237" y="1343"/>
                </a:cxn>
                <a:cxn ang="0">
                  <a:pos x="487" y="1410"/>
                </a:cxn>
                <a:cxn ang="0">
                  <a:pos x="621" y="1274"/>
                </a:cxn>
                <a:cxn ang="0">
                  <a:pos x="354" y="1277"/>
                </a:cxn>
                <a:cxn ang="0">
                  <a:pos x="331" y="1085"/>
                </a:cxn>
                <a:cxn ang="0">
                  <a:pos x="219" y="793"/>
                </a:cxn>
                <a:cxn ang="0">
                  <a:pos x="940" y="934"/>
                </a:cxn>
                <a:cxn ang="0">
                  <a:pos x="947" y="791"/>
                </a:cxn>
                <a:cxn ang="0">
                  <a:pos x="797" y="972"/>
                </a:cxn>
                <a:cxn ang="0">
                  <a:pos x="917" y="590"/>
                </a:cxn>
                <a:cxn ang="0">
                  <a:pos x="910" y="638"/>
                </a:cxn>
                <a:cxn ang="0">
                  <a:pos x="963" y="744"/>
                </a:cxn>
                <a:cxn ang="0">
                  <a:pos x="998" y="418"/>
                </a:cxn>
                <a:cxn ang="0">
                  <a:pos x="910" y="350"/>
                </a:cxn>
                <a:cxn ang="0">
                  <a:pos x="866" y="506"/>
                </a:cxn>
                <a:cxn ang="0">
                  <a:pos x="963" y="982"/>
                </a:cxn>
                <a:cxn ang="0">
                  <a:pos x="818" y="1014"/>
                </a:cxn>
                <a:cxn ang="0">
                  <a:pos x="938" y="1031"/>
                </a:cxn>
              </a:cxnLst>
              <a:rect l="0" t="0" r="r" b="b"/>
              <a:pathLst>
                <a:path w="1033" h="1532">
                  <a:moveTo>
                    <a:pt x="559" y="1"/>
                  </a:moveTo>
                  <a:cubicBezTo>
                    <a:pt x="653" y="1"/>
                    <a:pt x="746" y="1"/>
                    <a:pt x="839" y="1"/>
                  </a:cubicBezTo>
                  <a:cubicBezTo>
                    <a:pt x="865" y="1"/>
                    <a:pt x="886" y="10"/>
                    <a:pt x="896" y="34"/>
                  </a:cubicBezTo>
                  <a:cubicBezTo>
                    <a:pt x="901" y="46"/>
                    <a:pt x="903" y="61"/>
                    <a:pt x="903" y="75"/>
                  </a:cubicBezTo>
                  <a:cubicBezTo>
                    <a:pt x="903" y="139"/>
                    <a:pt x="903" y="203"/>
                    <a:pt x="903" y="267"/>
                  </a:cubicBezTo>
                  <a:cubicBezTo>
                    <a:pt x="903" y="271"/>
                    <a:pt x="903" y="276"/>
                    <a:pt x="903" y="281"/>
                  </a:cubicBezTo>
                  <a:cubicBezTo>
                    <a:pt x="903" y="288"/>
                    <a:pt x="905" y="293"/>
                    <a:pt x="914" y="294"/>
                  </a:cubicBezTo>
                  <a:cubicBezTo>
                    <a:pt x="959" y="303"/>
                    <a:pt x="988" y="334"/>
                    <a:pt x="1010" y="372"/>
                  </a:cubicBezTo>
                  <a:cubicBezTo>
                    <a:pt x="1023" y="396"/>
                    <a:pt x="1033" y="423"/>
                    <a:pt x="1023" y="450"/>
                  </a:cubicBezTo>
                  <a:cubicBezTo>
                    <a:pt x="1017" y="465"/>
                    <a:pt x="1009" y="480"/>
                    <a:pt x="999" y="491"/>
                  </a:cubicBezTo>
                  <a:cubicBezTo>
                    <a:pt x="985" y="507"/>
                    <a:pt x="968" y="521"/>
                    <a:pt x="951" y="533"/>
                  </a:cubicBezTo>
                  <a:cubicBezTo>
                    <a:pt x="939" y="542"/>
                    <a:pt x="925" y="546"/>
                    <a:pt x="912" y="552"/>
                  </a:cubicBezTo>
                  <a:cubicBezTo>
                    <a:pt x="909" y="553"/>
                    <a:pt x="908" y="556"/>
                    <a:pt x="906" y="559"/>
                  </a:cubicBezTo>
                  <a:cubicBezTo>
                    <a:pt x="908" y="560"/>
                    <a:pt x="910" y="561"/>
                    <a:pt x="913" y="561"/>
                  </a:cubicBezTo>
                  <a:cubicBezTo>
                    <a:pt x="920" y="563"/>
                    <a:pt x="928" y="564"/>
                    <a:pt x="936" y="565"/>
                  </a:cubicBezTo>
                  <a:cubicBezTo>
                    <a:pt x="962" y="568"/>
                    <a:pt x="978" y="583"/>
                    <a:pt x="989" y="605"/>
                  </a:cubicBezTo>
                  <a:cubicBezTo>
                    <a:pt x="1007" y="642"/>
                    <a:pt x="1010" y="681"/>
                    <a:pt x="1006" y="720"/>
                  </a:cubicBezTo>
                  <a:cubicBezTo>
                    <a:pt x="1005" y="736"/>
                    <a:pt x="998" y="749"/>
                    <a:pt x="987" y="760"/>
                  </a:cubicBezTo>
                  <a:cubicBezTo>
                    <a:pt x="980" y="767"/>
                    <a:pt x="979" y="772"/>
                    <a:pt x="984" y="781"/>
                  </a:cubicBezTo>
                  <a:cubicBezTo>
                    <a:pt x="1002" y="815"/>
                    <a:pt x="1008" y="853"/>
                    <a:pt x="1003" y="891"/>
                  </a:cubicBezTo>
                  <a:cubicBezTo>
                    <a:pt x="1001" y="901"/>
                    <a:pt x="997" y="911"/>
                    <a:pt x="991" y="921"/>
                  </a:cubicBezTo>
                  <a:cubicBezTo>
                    <a:pt x="986" y="930"/>
                    <a:pt x="984" y="937"/>
                    <a:pt x="986" y="948"/>
                  </a:cubicBezTo>
                  <a:cubicBezTo>
                    <a:pt x="989" y="964"/>
                    <a:pt x="988" y="981"/>
                    <a:pt x="988" y="998"/>
                  </a:cubicBezTo>
                  <a:cubicBezTo>
                    <a:pt x="987" y="1017"/>
                    <a:pt x="976" y="1033"/>
                    <a:pt x="961" y="1045"/>
                  </a:cubicBezTo>
                  <a:cubicBezTo>
                    <a:pt x="947" y="1056"/>
                    <a:pt x="932" y="1066"/>
                    <a:pt x="917" y="1075"/>
                  </a:cubicBezTo>
                  <a:cubicBezTo>
                    <a:pt x="906" y="1081"/>
                    <a:pt x="903" y="1087"/>
                    <a:pt x="903" y="1098"/>
                  </a:cubicBezTo>
                  <a:cubicBezTo>
                    <a:pt x="903" y="1123"/>
                    <a:pt x="903" y="1148"/>
                    <a:pt x="903" y="1172"/>
                  </a:cubicBezTo>
                  <a:cubicBezTo>
                    <a:pt x="903" y="1212"/>
                    <a:pt x="892" y="1238"/>
                    <a:pt x="842" y="1241"/>
                  </a:cubicBezTo>
                  <a:cubicBezTo>
                    <a:pt x="818" y="1242"/>
                    <a:pt x="794" y="1242"/>
                    <a:pt x="770" y="1242"/>
                  </a:cubicBezTo>
                  <a:cubicBezTo>
                    <a:pt x="754" y="1242"/>
                    <a:pt x="754" y="1242"/>
                    <a:pt x="749" y="1257"/>
                  </a:cubicBezTo>
                  <a:cubicBezTo>
                    <a:pt x="741" y="1285"/>
                    <a:pt x="725" y="1308"/>
                    <a:pt x="707" y="1331"/>
                  </a:cubicBezTo>
                  <a:cubicBezTo>
                    <a:pt x="680" y="1366"/>
                    <a:pt x="649" y="1397"/>
                    <a:pt x="611" y="1420"/>
                  </a:cubicBezTo>
                  <a:cubicBezTo>
                    <a:pt x="580" y="1438"/>
                    <a:pt x="547" y="1450"/>
                    <a:pt x="510" y="1446"/>
                  </a:cubicBezTo>
                  <a:cubicBezTo>
                    <a:pt x="495" y="1445"/>
                    <a:pt x="484" y="1449"/>
                    <a:pt x="476" y="1464"/>
                  </a:cubicBezTo>
                  <a:cubicBezTo>
                    <a:pt x="465" y="1482"/>
                    <a:pt x="451" y="1498"/>
                    <a:pt x="439" y="1516"/>
                  </a:cubicBezTo>
                  <a:cubicBezTo>
                    <a:pt x="428" y="1531"/>
                    <a:pt x="428" y="1532"/>
                    <a:pt x="413" y="1521"/>
                  </a:cubicBezTo>
                  <a:cubicBezTo>
                    <a:pt x="378" y="1496"/>
                    <a:pt x="343" y="1470"/>
                    <a:pt x="308" y="1445"/>
                  </a:cubicBezTo>
                  <a:cubicBezTo>
                    <a:pt x="229" y="1387"/>
                    <a:pt x="149" y="1329"/>
                    <a:pt x="69" y="1271"/>
                  </a:cubicBezTo>
                  <a:cubicBezTo>
                    <a:pt x="49" y="1256"/>
                    <a:pt x="28" y="1241"/>
                    <a:pt x="8" y="1226"/>
                  </a:cubicBezTo>
                  <a:cubicBezTo>
                    <a:pt x="1" y="1222"/>
                    <a:pt x="0" y="1218"/>
                    <a:pt x="4" y="1212"/>
                  </a:cubicBezTo>
                  <a:cubicBezTo>
                    <a:pt x="7" y="1207"/>
                    <a:pt x="10" y="1203"/>
                    <a:pt x="13" y="1198"/>
                  </a:cubicBezTo>
                  <a:cubicBezTo>
                    <a:pt x="21" y="1186"/>
                    <a:pt x="24" y="1173"/>
                    <a:pt x="23" y="1158"/>
                  </a:cubicBezTo>
                  <a:cubicBezTo>
                    <a:pt x="22" y="1129"/>
                    <a:pt x="23" y="1100"/>
                    <a:pt x="23" y="1070"/>
                  </a:cubicBezTo>
                  <a:cubicBezTo>
                    <a:pt x="22" y="1033"/>
                    <a:pt x="19" y="996"/>
                    <a:pt x="19" y="959"/>
                  </a:cubicBezTo>
                  <a:cubicBezTo>
                    <a:pt x="19" y="897"/>
                    <a:pt x="29" y="837"/>
                    <a:pt x="46" y="778"/>
                  </a:cubicBezTo>
                  <a:cubicBezTo>
                    <a:pt x="54" y="751"/>
                    <a:pt x="61" y="724"/>
                    <a:pt x="68" y="697"/>
                  </a:cubicBezTo>
                  <a:cubicBezTo>
                    <a:pt x="70" y="689"/>
                    <a:pt x="71" y="680"/>
                    <a:pt x="71" y="671"/>
                  </a:cubicBezTo>
                  <a:cubicBezTo>
                    <a:pt x="71" y="619"/>
                    <a:pt x="71" y="567"/>
                    <a:pt x="71" y="515"/>
                  </a:cubicBezTo>
                  <a:cubicBezTo>
                    <a:pt x="71" y="498"/>
                    <a:pt x="73" y="481"/>
                    <a:pt x="83" y="466"/>
                  </a:cubicBezTo>
                  <a:cubicBezTo>
                    <a:pt x="99" y="442"/>
                    <a:pt x="124" y="433"/>
                    <a:pt x="153" y="440"/>
                  </a:cubicBezTo>
                  <a:cubicBezTo>
                    <a:pt x="177" y="446"/>
                    <a:pt x="198" y="458"/>
                    <a:pt x="213" y="480"/>
                  </a:cubicBezTo>
                  <a:cubicBezTo>
                    <a:pt x="213" y="481"/>
                    <a:pt x="216" y="481"/>
                    <a:pt x="217" y="482"/>
                  </a:cubicBezTo>
                  <a:cubicBezTo>
                    <a:pt x="218" y="481"/>
                    <a:pt x="218" y="479"/>
                    <a:pt x="218" y="478"/>
                  </a:cubicBezTo>
                  <a:cubicBezTo>
                    <a:pt x="218" y="473"/>
                    <a:pt x="218" y="467"/>
                    <a:pt x="218" y="462"/>
                  </a:cubicBezTo>
                  <a:cubicBezTo>
                    <a:pt x="218" y="330"/>
                    <a:pt x="219" y="198"/>
                    <a:pt x="217" y="66"/>
                  </a:cubicBezTo>
                  <a:cubicBezTo>
                    <a:pt x="217" y="27"/>
                    <a:pt x="248" y="0"/>
                    <a:pt x="283" y="1"/>
                  </a:cubicBezTo>
                  <a:cubicBezTo>
                    <a:pt x="375" y="2"/>
                    <a:pt x="467" y="1"/>
                    <a:pt x="559" y="1"/>
                  </a:cubicBezTo>
                  <a:close/>
                  <a:moveTo>
                    <a:pt x="275" y="518"/>
                  </a:moveTo>
                  <a:cubicBezTo>
                    <a:pt x="275" y="518"/>
                    <a:pt x="275" y="518"/>
                    <a:pt x="275" y="518"/>
                  </a:cubicBezTo>
                  <a:cubicBezTo>
                    <a:pt x="275" y="626"/>
                    <a:pt x="275" y="734"/>
                    <a:pt x="274" y="842"/>
                  </a:cubicBezTo>
                  <a:cubicBezTo>
                    <a:pt x="274" y="855"/>
                    <a:pt x="278" y="866"/>
                    <a:pt x="287" y="876"/>
                  </a:cubicBezTo>
                  <a:cubicBezTo>
                    <a:pt x="311" y="902"/>
                    <a:pt x="327" y="932"/>
                    <a:pt x="336" y="966"/>
                  </a:cubicBezTo>
                  <a:cubicBezTo>
                    <a:pt x="341" y="987"/>
                    <a:pt x="346" y="1009"/>
                    <a:pt x="351" y="1030"/>
                  </a:cubicBezTo>
                  <a:cubicBezTo>
                    <a:pt x="354" y="1044"/>
                    <a:pt x="355" y="1046"/>
                    <a:pt x="369" y="1046"/>
                  </a:cubicBezTo>
                  <a:cubicBezTo>
                    <a:pt x="372" y="1046"/>
                    <a:pt x="374" y="1046"/>
                    <a:pt x="377" y="1046"/>
                  </a:cubicBezTo>
                  <a:cubicBezTo>
                    <a:pt x="506" y="1046"/>
                    <a:pt x="636" y="1046"/>
                    <a:pt x="765" y="1046"/>
                  </a:cubicBezTo>
                  <a:cubicBezTo>
                    <a:pt x="770" y="1046"/>
                    <a:pt x="774" y="1047"/>
                    <a:pt x="779" y="1046"/>
                  </a:cubicBezTo>
                  <a:cubicBezTo>
                    <a:pt x="782" y="1045"/>
                    <a:pt x="786" y="1042"/>
                    <a:pt x="786" y="1041"/>
                  </a:cubicBezTo>
                  <a:cubicBezTo>
                    <a:pt x="786" y="1026"/>
                    <a:pt x="792" y="1009"/>
                    <a:pt x="782" y="996"/>
                  </a:cubicBezTo>
                  <a:cubicBezTo>
                    <a:pt x="765" y="973"/>
                    <a:pt x="756" y="949"/>
                    <a:pt x="755" y="921"/>
                  </a:cubicBezTo>
                  <a:cubicBezTo>
                    <a:pt x="755" y="912"/>
                    <a:pt x="750" y="909"/>
                    <a:pt x="742" y="909"/>
                  </a:cubicBezTo>
                  <a:cubicBezTo>
                    <a:pt x="738" y="909"/>
                    <a:pt x="734" y="909"/>
                    <a:pt x="730" y="909"/>
                  </a:cubicBezTo>
                  <a:cubicBezTo>
                    <a:pt x="603" y="909"/>
                    <a:pt x="475" y="909"/>
                    <a:pt x="348" y="909"/>
                  </a:cubicBezTo>
                  <a:cubicBezTo>
                    <a:pt x="343" y="909"/>
                    <a:pt x="337" y="909"/>
                    <a:pt x="332" y="909"/>
                  </a:cubicBezTo>
                  <a:cubicBezTo>
                    <a:pt x="323" y="909"/>
                    <a:pt x="317" y="904"/>
                    <a:pt x="316" y="895"/>
                  </a:cubicBezTo>
                  <a:cubicBezTo>
                    <a:pt x="316" y="891"/>
                    <a:pt x="316" y="888"/>
                    <a:pt x="316" y="885"/>
                  </a:cubicBezTo>
                  <a:cubicBezTo>
                    <a:pt x="316" y="803"/>
                    <a:pt x="316" y="721"/>
                    <a:pt x="316" y="639"/>
                  </a:cubicBezTo>
                  <a:cubicBezTo>
                    <a:pt x="316" y="636"/>
                    <a:pt x="316" y="633"/>
                    <a:pt x="316" y="631"/>
                  </a:cubicBezTo>
                  <a:cubicBezTo>
                    <a:pt x="317" y="620"/>
                    <a:pt x="321" y="616"/>
                    <a:pt x="332" y="615"/>
                  </a:cubicBezTo>
                  <a:cubicBezTo>
                    <a:pt x="336" y="614"/>
                    <a:pt x="340" y="615"/>
                    <a:pt x="344" y="615"/>
                  </a:cubicBezTo>
                  <a:cubicBezTo>
                    <a:pt x="488" y="615"/>
                    <a:pt x="631" y="615"/>
                    <a:pt x="774" y="615"/>
                  </a:cubicBezTo>
                  <a:cubicBezTo>
                    <a:pt x="778" y="615"/>
                    <a:pt x="781" y="614"/>
                    <a:pt x="784" y="615"/>
                  </a:cubicBezTo>
                  <a:cubicBezTo>
                    <a:pt x="786" y="615"/>
                    <a:pt x="788" y="616"/>
                    <a:pt x="790" y="616"/>
                  </a:cubicBezTo>
                  <a:cubicBezTo>
                    <a:pt x="788" y="617"/>
                    <a:pt x="787" y="618"/>
                    <a:pt x="785" y="618"/>
                  </a:cubicBezTo>
                  <a:cubicBezTo>
                    <a:pt x="780" y="618"/>
                    <a:pt x="776" y="618"/>
                    <a:pt x="771" y="618"/>
                  </a:cubicBezTo>
                  <a:cubicBezTo>
                    <a:pt x="632" y="618"/>
                    <a:pt x="493" y="618"/>
                    <a:pt x="353" y="618"/>
                  </a:cubicBezTo>
                  <a:cubicBezTo>
                    <a:pt x="347" y="618"/>
                    <a:pt x="341" y="618"/>
                    <a:pt x="335" y="618"/>
                  </a:cubicBezTo>
                  <a:cubicBezTo>
                    <a:pt x="322" y="620"/>
                    <a:pt x="319" y="626"/>
                    <a:pt x="325" y="638"/>
                  </a:cubicBezTo>
                  <a:cubicBezTo>
                    <a:pt x="326" y="641"/>
                    <a:pt x="327" y="647"/>
                    <a:pt x="325" y="648"/>
                  </a:cubicBezTo>
                  <a:cubicBezTo>
                    <a:pt x="317" y="654"/>
                    <a:pt x="319" y="662"/>
                    <a:pt x="319" y="670"/>
                  </a:cubicBezTo>
                  <a:cubicBezTo>
                    <a:pt x="319" y="739"/>
                    <a:pt x="319" y="809"/>
                    <a:pt x="319" y="878"/>
                  </a:cubicBezTo>
                  <a:cubicBezTo>
                    <a:pt x="319" y="882"/>
                    <a:pt x="319" y="886"/>
                    <a:pt x="319" y="890"/>
                  </a:cubicBezTo>
                  <a:cubicBezTo>
                    <a:pt x="320" y="899"/>
                    <a:pt x="326" y="905"/>
                    <a:pt x="335" y="906"/>
                  </a:cubicBezTo>
                  <a:cubicBezTo>
                    <a:pt x="339" y="906"/>
                    <a:pt x="343" y="906"/>
                    <a:pt x="347" y="906"/>
                  </a:cubicBezTo>
                  <a:cubicBezTo>
                    <a:pt x="472" y="906"/>
                    <a:pt x="597" y="906"/>
                    <a:pt x="723" y="906"/>
                  </a:cubicBezTo>
                  <a:cubicBezTo>
                    <a:pt x="727" y="906"/>
                    <a:pt x="732" y="906"/>
                    <a:pt x="737" y="905"/>
                  </a:cubicBezTo>
                  <a:cubicBezTo>
                    <a:pt x="739" y="905"/>
                    <a:pt x="743" y="903"/>
                    <a:pt x="743" y="902"/>
                  </a:cubicBezTo>
                  <a:cubicBezTo>
                    <a:pt x="744" y="886"/>
                    <a:pt x="759" y="879"/>
                    <a:pt x="764" y="865"/>
                  </a:cubicBezTo>
                  <a:cubicBezTo>
                    <a:pt x="768" y="855"/>
                    <a:pt x="776" y="847"/>
                    <a:pt x="783" y="838"/>
                  </a:cubicBezTo>
                  <a:cubicBezTo>
                    <a:pt x="786" y="834"/>
                    <a:pt x="790" y="830"/>
                    <a:pt x="793" y="826"/>
                  </a:cubicBezTo>
                  <a:cubicBezTo>
                    <a:pt x="802" y="814"/>
                    <a:pt x="801" y="808"/>
                    <a:pt x="789" y="799"/>
                  </a:cubicBezTo>
                  <a:cubicBezTo>
                    <a:pt x="786" y="797"/>
                    <a:pt x="781" y="792"/>
                    <a:pt x="781" y="790"/>
                  </a:cubicBezTo>
                  <a:cubicBezTo>
                    <a:pt x="784" y="779"/>
                    <a:pt x="777" y="772"/>
                    <a:pt x="776" y="763"/>
                  </a:cubicBezTo>
                  <a:cubicBezTo>
                    <a:pt x="774" y="748"/>
                    <a:pt x="774" y="732"/>
                    <a:pt x="777" y="718"/>
                  </a:cubicBezTo>
                  <a:cubicBezTo>
                    <a:pt x="782" y="698"/>
                    <a:pt x="791" y="680"/>
                    <a:pt x="798" y="661"/>
                  </a:cubicBezTo>
                  <a:cubicBezTo>
                    <a:pt x="801" y="655"/>
                    <a:pt x="801" y="660"/>
                    <a:pt x="803" y="662"/>
                  </a:cubicBezTo>
                  <a:cubicBezTo>
                    <a:pt x="805" y="663"/>
                    <a:pt x="809" y="662"/>
                    <a:pt x="811" y="661"/>
                  </a:cubicBezTo>
                  <a:cubicBezTo>
                    <a:pt x="818" y="657"/>
                    <a:pt x="823" y="651"/>
                    <a:pt x="830" y="648"/>
                  </a:cubicBezTo>
                  <a:cubicBezTo>
                    <a:pt x="843" y="642"/>
                    <a:pt x="846" y="632"/>
                    <a:pt x="846" y="619"/>
                  </a:cubicBezTo>
                  <a:cubicBezTo>
                    <a:pt x="845" y="594"/>
                    <a:pt x="845" y="570"/>
                    <a:pt x="846" y="545"/>
                  </a:cubicBezTo>
                  <a:cubicBezTo>
                    <a:pt x="846" y="532"/>
                    <a:pt x="844" y="521"/>
                    <a:pt x="837" y="509"/>
                  </a:cubicBezTo>
                  <a:cubicBezTo>
                    <a:pt x="818" y="476"/>
                    <a:pt x="816" y="441"/>
                    <a:pt x="836" y="407"/>
                  </a:cubicBezTo>
                  <a:cubicBezTo>
                    <a:pt x="843" y="394"/>
                    <a:pt x="846" y="383"/>
                    <a:pt x="846" y="369"/>
                  </a:cubicBezTo>
                  <a:cubicBezTo>
                    <a:pt x="846" y="309"/>
                    <a:pt x="846" y="249"/>
                    <a:pt x="846" y="189"/>
                  </a:cubicBezTo>
                  <a:cubicBezTo>
                    <a:pt x="846" y="167"/>
                    <a:pt x="841" y="162"/>
                    <a:pt x="818" y="162"/>
                  </a:cubicBezTo>
                  <a:cubicBezTo>
                    <a:pt x="646" y="162"/>
                    <a:pt x="473" y="162"/>
                    <a:pt x="300" y="162"/>
                  </a:cubicBezTo>
                  <a:cubicBezTo>
                    <a:pt x="278" y="162"/>
                    <a:pt x="275" y="166"/>
                    <a:pt x="275" y="188"/>
                  </a:cubicBezTo>
                  <a:cubicBezTo>
                    <a:pt x="275" y="191"/>
                    <a:pt x="275" y="193"/>
                    <a:pt x="275" y="196"/>
                  </a:cubicBezTo>
                  <a:cubicBezTo>
                    <a:pt x="275" y="303"/>
                    <a:pt x="275" y="410"/>
                    <a:pt x="275" y="518"/>
                  </a:cubicBezTo>
                  <a:close/>
                  <a:moveTo>
                    <a:pt x="219" y="711"/>
                  </a:moveTo>
                  <a:cubicBezTo>
                    <a:pt x="219" y="711"/>
                    <a:pt x="219" y="711"/>
                    <a:pt x="219" y="711"/>
                  </a:cubicBezTo>
                  <a:cubicBezTo>
                    <a:pt x="219" y="701"/>
                    <a:pt x="219" y="691"/>
                    <a:pt x="219" y="681"/>
                  </a:cubicBezTo>
                  <a:cubicBezTo>
                    <a:pt x="218" y="644"/>
                    <a:pt x="218" y="607"/>
                    <a:pt x="214" y="570"/>
                  </a:cubicBezTo>
                  <a:cubicBezTo>
                    <a:pt x="212" y="548"/>
                    <a:pt x="206" y="527"/>
                    <a:pt x="197" y="507"/>
                  </a:cubicBezTo>
                  <a:cubicBezTo>
                    <a:pt x="185" y="481"/>
                    <a:pt x="163" y="466"/>
                    <a:pt x="133" y="466"/>
                  </a:cubicBezTo>
                  <a:cubicBezTo>
                    <a:pt x="124" y="466"/>
                    <a:pt x="117" y="469"/>
                    <a:pt x="111" y="476"/>
                  </a:cubicBezTo>
                  <a:cubicBezTo>
                    <a:pt x="100" y="487"/>
                    <a:pt x="99" y="501"/>
                    <a:pt x="99" y="515"/>
                  </a:cubicBezTo>
                  <a:cubicBezTo>
                    <a:pt x="99" y="570"/>
                    <a:pt x="99" y="624"/>
                    <a:pt x="99" y="679"/>
                  </a:cubicBezTo>
                  <a:cubicBezTo>
                    <a:pt x="99" y="688"/>
                    <a:pt x="98" y="696"/>
                    <a:pt x="96" y="705"/>
                  </a:cubicBezTo>
                  <a:cubicBezTo>
                    <a:pt x="89" y="730"/>
                    <a:pt x="81" y="754"/>
                    <a:pt x="74" y="779"/>
                  </a:cubicBezTo>
                  <a:cubicBezTo>
                    <a:pt x="57" y="838"/>
                    <a:pt x="47" y="899"/>
                    <a:pt x="47" y="960"/>
                  </a:cubicBezTo>
                  <a:cubicBezTo>
                    <a:pt x="48" y="1020"/>
                    <a:pt x="50" y="1080"/>
                    <a:pt x="51" y="1140"/>
                  </a:cubicBezTo>
                  <a:cubicBezTo>
                    <a:pt x="51" y="1163"/>
                    <a:pt x="54" y="1187"/>
                    <a:pt x="39" y="1207"/>
                  </a:cubicBezTo>
                  <a:cubicBezTo>
                    <a:pt x="36" y="1212"/>
                    <a:pt x="37" y="1217"/>
                    <a:pt x="43" y="1221"/>
                  </a:cubicBezTo>
                  <a:cubicBezTo>
                    <a:pt x="56" y="1228"/>
                    <a:pt x="70" y="1236"/>
                    <a:pt x="82" y="1244"/>
                  </a:cubicBezTo>
                  <a:cubicBezTo>
                    <a:pt x="134" y="1277"/>
                    <a:pt x="186" y="1310"/>
                    <a:pt x="237" y="1343"/>
                  </a:cubicBezTo>
                  <a:cubicBezTo>
                    <a:pt x="298" y="1381"/>
                    <a:pt x="359" y="1419"/>
                    <a:pt x="420" y="1457"/>
                  </a:cubicBezTo>
                  <a:cubicBezTo>
                    <a:pt x="430" y="1464"/>
                    <a:pt x="432" y="1464"/>
                    <a:pt x="439" y="1453"/>
                  </a:cubicBezTo>
                  <a:cubicBezTo>
                    <a:pt x="448" y="1442"/>
                    <a:pt x="457" y="1430"/>
                    <a:pt x="465" y="1418"/>
                  </a:cubicBezTo>
                  <a:cubicBezTo>
                    <a:pt x="471" y="1409"/>
                    <a:pt x="477" y="1407"/>
                    <a:pt x="487" y="1410"/>
                  </a:cubicBezTo>
                  <a:cubicBezTo>
                    <a:pt x="519" y="1420"/>
                    <a:pt x="550" y="1412"/>
                    <a:pt x="579" y="1397"/>
                  </a:cubicBezTo>
                  <a:cubicBezTo>
                    <a:pt x="620" y="1378"/>
                    <a:pt x="652" y="1347"/>
                    <a:pt x="679" y="1310"/>
                  </a:cubicBezTo>
                  <a:cubicBezTo>
                    <a:pt x="687" y="1299"/>
                    <a:pt x="687" y="1295"/>
                    <a:pt x="673" y="1290"/>
                  </a:cubicBezTo>
                  <a:cubicBezTo>
                    <a:pt x="656" y="1284"/>
                    <a:pt x="639" y="1278"/>
                    <a:pt x="621" y="1274"/>
                  </a:cubicBezTo>
                  <a:cubicBezTo>
                    <a:pt x="582" y="1265"/>
                    <a:pt x="542" y="1259"/>
                    <a:pt x="501" y="1257"/>
                  </a:cubicBezTo>
                  <a:cubicBezTo>
                    <a:pt x="468" y="1256"/>
                    <a:pt x="436" y="1252"/>
                    <a:pt x="404" y="1250"/>
                  </a:cubicBezTo>
                  <a:cubicBezTo>
                    <a:pt x="396" y="1250"/>
                    <a:pt x="388" y="1251"/>
                    <a:pt x="380" y="1253"/>
                  </a:cubicBezTo>
                  <a:cubicBezTo>
                    <a:pt x="367" y="1256"/>
                    <a:pt x="356" y="1261"/>
                    <a:pt x="354" y="1277"/>
                  </a:cubicBezTo>
                  <a:cubicBezTo>
                    <a:pt x="353" y="1285"/>
                    <a:pt x="348" y="1290"/>
                    <a:pt x="339" y="1289"/>
                  </a:cubicBezTo>
                  <a:cubicBezTo>
                    <a:pt x="331" y="1287"/>
                    <a:pt x="327" y="1279"/>
                    <a:pt x="328" y="1270"/>
                  </a:cubicBezTo>
                  <a:cubicBezTo>
                    <a:pt x="330" y="1229"/>
                    <a:pt x="333" y="1188"/>
                    <a:pt x="334" y="1146"/>
                  </a:cubicBezTo>
                  <a:cubicBezTo>
                    <a:pt x="335" y="1126"/>
                    <a:pt x="332" y="1105"/>
                    <a:pt x="331" y="1085"/>
                  </a:cubicBezTo>
                  <a:cubicBezTo>
                    <a:pt x="329" y="1041"/>
                    <a:pt x="322" y="997"/>
                    <a:pt x="305" y="956"/>
                  </a:cubicBezTo>
                  <a:cubicBezTo>
                    <a:pt x="290" y="917"/>
                    <a:pt x="267" y="882"/>
                    <a:pt x="228" y="860"/>
                  </a:cubicBezTo>
                  <a:cubicBezTo>
                    <a:pt x="217" y="854"/>
                    <a:pt x="214" y="843"/>
                    <a:pt x="216" y="831"/>
                  </a:cubicBezTo>
                  <a:cubicBezTo>
                    <a:pt x="217" y="819"/>
                    <a:pt x="218" y="806"/>
                    <a:pt x="219" y="793"/>
                  </a:cubicBezTo>
                  <a:cubicBezTo>
                    <a:pt x="219" y="766"/>
                    <a:pt x="219" y="739"/>
                    <a:pt x="219" y="711"/>
                  </a:cubicBezTo>
                  <a:close/>
                  <a:moveTo>
                    <a:pt x="826" y="987"/>
                  </a:moveTo>
                  <a:cubicBezTo>
                    <a:pt x="833" y="986"/>
                    <a:pt x="839" y="985"/>
                    <a:pt x="845" y="983"/>
                  </a:cubicBezTo>
                  <a:cubicBezTo>
                    <a:pt x="881" y="974"/>
                    <a:pt x="912" y="956"/>
                    <a:pt x="940" y="934"/>
                  </a:cubicBezTo>
                  <a:cubicBezTo>
                    <a:pt x="958" y="920"/>
                    <a:pt x="976" y="905"/>
                    <a:pt x="977" y="880"/>
                  </a:cubicBezTo>
                  <a:cubicBezTo>
                    <a:pt x="978" y="868"/>
                    <a:pt x="977" y="856"/>
                    <a:pt x="975" y="844"/>
                  </a:cubicBezTo>
                  <a:cubicBezTo>
                    <a:pt x="971" y="828"/>
                    <a:pt x="965" y="811"/>
                    <a:pt x="959" y="795"/>
                  </a:cubicBezTo>
                  <a:cubicBezTo>
                    <a:pt x="957" y="789"/>
                    <a:pt x="953" y="787"/>
                    <a:pt x="947" y="791"/>
                  </a:cubicBezTo>
                  <a:cubicBezTo>
                    <a:pt x="941" y="796"/>
                    <a:pt x="934" y="799"/>
                    <a:pt x="927" y="804"/>
                  </a:cubicBezTo>
                  <a:cubicBezTo>
                    <a:pt x="907" y="815"/>
                    <a:pt x="887" y="825"/>
                    <a:pt x="864" y="829"/>
                  </a:cubicBezTo>
                  <a:cubicBezTo>
                    <a:pt x="848" y="831"/>
                    <a:pt x="834" y="838"/>
                    <a:pt x="820" y="846"/>
                  </a:cubicBezTo>
                  <a:cubicBezTo>
                    <a:pt x="775" y="873"/>
                    <a:pt x="769" y="931"/>
                    <a:pt x="797" y="972"/>
                  </a:cubicBezTo>
                  <a:cubicBezTo>
                    <a:pt x="804" y="982"/>
                    <a:pt x="814" y="987"/>
                    <a:pt x="826" y="987"/>
                  </a:cubicBezTo>
                  <a:close/>
                  <a:moveTo>
                    <a:pt x="979" y="691"/>
                  </a:moveTo>
                  <a:cubicBezTo>
                    <a:pt x="980" y="666"/>
                    <a:pt x="976" y="642"/>
                    <a:pt x="966" y="619"/>
                  </a:cubicBezTo>
                  <a:cubicBezTo>
                    <a:pt x="956" y="599"/>
                    <a:pt x="939" y="590"/>
                    <a:pt x="917" y="590"/>
                  </a:cubicBezTo>
                  <a:cubicBezTo>
                    <a:pt x="912" y="590"/>
                    <a:pt x="905" y="589"/>
                    <a:pt x="903" y="597"/>
                  </a:cubicBezTo>
                  <a:cubicBezTo>
                    <a:pt x="902" y="604"/>
                    <a:pt x="904" y="609"/>
                    <a:pt x="911" y="611"/>
                  </a:cubicBezTo>
                  <a:cubicBezTo>
                    <a:pt x="918" y="613"/>
                    <a:pt x="924" y="618"/>
                    <a:pt x="922" y="626"/>
                  </a:cubicBezTo>
                  <a:cubicBezTo>
                    <a:pt x="920" y="630"/>
                    <a:pt x="915" y="635"/>
                    <a:pt x="910" y="638"/>
                  </a:cubicBezTo>
                  <a:cubicBezTo>
                    <a:pt x="893" y="646"/>
                    <a:pt x="875" y="654"/>
                    <a:pt x="858" y="662"/>
                  </a:cubicBezTo>
                  <a:cubicBezTo>
                    <a:pt x="817" y="681"/>
                    <a:pt x="801" y="714"/>
                    <a:pt x="808" y="758"/>
                  </a:cubicBezTo>
                  <a:cubicBezTo>
                    <a:pt x="813" y="794"/>
                    <a:pt x="831" y="811"/>
                    <a:pt x="871" y="799"/>
                  </a:cubicBezTo>
                  <a:cubicBezTo>
                    <a:pt x="907" y="788"/>
                    <a:pt x="936" y="768"/>
                    <a:pt x="963" y="744"/>
                  </a:cubicBezTo>
                  <a:cubicBezTo>
                    <a:pt x="974" y="735"/>
                    <a:pt x="979" y="723"/>
                    <a:pt x="979" y="709"/>
                  </a:cubicBezTo>
                  <a:cubicBezTo>
                    <a:pt x="979" y="703"/>
                    <a:pt x="979" y="697"/>
                    <a:pt x="979" y="691"/>
                  </a:cubicBezTo>
                  <a:close/>
                  <a:moveTo>
                    <a:pt x="999" y="429"/>
                  </a:moveTo>
                  <a:cubicBezTo>
                    <a:pt x="999" y="425"/>
                    <a:pt x="999" y="421"/>
                    <a:pt x="998" y="418"/>
                  </a:cubicBezTo>
                  <a:cubicBezTo>
                    <a:pt x="988" y="382"/>
                    <a:pt x="967" y="354"/>
                    <a:pt x="936" y="333"/>
                  </a:cubicBezTo>
                  <a:cubicBezTo>
                    <a:pt x="930" y="329"/>
                    <a:pt x="922" y="326"/>
                    <a:pt x="915" y="323"/>
                  </a:cubicBezTo>
                  <a:cubicBezTo>
                    <a:pt x="912" y="322"/>
                    <a:pt x="906" y="324"/>
                    <a:pt x="904" y="326"/>
                  </a:cubicBezTo>
                  <a:cubicBezTo>
                    <a:pt x="900" y="332"/>
                    <a:pt x="904" y="346"/>
                    <a:pt x="910" y="350"/>
                  </a:cubicBezTo>
                  <a:cubicBezTo>
                    <a:pt x="925" y="361"/>
                    <a:pt x="925" y="368"/>
                    <a:pt x="910" y="378"/>
                  </a:cubicBezTo>
                  <a:cubicBezTo>
                    <a:pt x="900" y="385"/>
                    <a:pt x="889" y="391"/>
                    <a:pt x="880" y="398"/>
                  </a:cubicBezTo>
                  <a:cubicBezTo>
                    <a:pt x="868" y="406"/>
                    <a:pt x="858" y="415"/>
                    <a:pt x="853" y="429"/>
                  </a:cubicBezTo>
                  <a:cubicBezTo>
                    <a:pt x="842" y="457"/>
                    <a:pt x="849" y="483"/>
                    <a:pt x="866" y="506"/>
                  </a:cubicBezTo>
                  <a:cubicBezTo>
                    <a:pt x="882" y="528"/>
                    <a:pt x="903" y="532"/>
                    <a:pt x="925" y="517"/>
                  </a:cubicBezTo>
                  <a:cubicBezTo>
                    <a:pt x="945" y="502"/>
                    <a:pt x="963" y="486"/>
                    <a:pt x="981" y="469"/>
                  </a:cubicBezTo>
                  <a:cubicBezTo>
                    <a:pt x="992" y="459"/>
                    <a:pt x="998" y="444"/>
                    <a:pt x="999" y="429"/>
                  </a:cubicBezTo>
                  <a:close/>
                  <a:moveTo>
                    <a:pt x="963" y="982"/>
                  </a:moveTo>
                  <a:cubicBezTo>
                    <a:pt x="963" y="978"/>
                    <a:pt x="964" y="974"/>
                    <a:pt x="963" y="971"/>
                  </a:cubicBezTo>
                  <a:cubicBezTo>
                    <a:pt x="962" y="966"/>
                    <a:pt x="961" y="961"/>
                    <a:pt x="959" y="956"/>
                  </a:cubicBezTo>
                  <a:cubicBezTo>
                    <a:pt x="955" y="959"/>
                    <a:pt x="951" y="961"/>
                    <a:pt x="947" y="963"/>
                  </a:cubicBezTo>
                  <a:cubicBezTo>
                    <a:pt x="908" y="989"/>
                    <a:pt x="867" y="1012"/>
                    <a:pt x="818" y="1014"/>
                  </a:cubicBezTo>
                  <a:cubicBezTo>
                    <a:pt x="809" y="1015"/>
                    <a:pt x="806" y="1020"/>
                    <a:pt x="808" y="1027"/>
                  </a:cubicBezTo>
                  <a:cubicBezTo>
                    <a:pt x="811" y="1035"/>
                    <a:pt x="813" y="1043"/>
                    <a:pt x="816" y="1050"/>
                  </a:cubicBezTo>
                  <a:cubicBezTo>
                    <a:pt x="823" y="1070"/>
                    <a:pt x="835" y="1076"/>
                    <a:pt x="856" y="1072"/>
                  </a:cubicBezTo>
                  <a:cubicBezTo>
                    <a:pt x="887" y="1065"/>
                    <a:pt x="913" y="1049"/>
                    <a:pt x="938" y="1031"/>
                  </a:cubicBezTo>
                  <a:cubicBezTo>
                    <a:pt x="955" y="1018"/>
                    <a:pt x="966" y="1003"/>
                    <a:pt x="963" y="9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24"/>
            <p:cNvSpPr>
              <a:spLocks/>
            </p:cNvSpPr>
            <p:nvPr/>
          </p:nvSpPr>
          <p:spPr bwMode="auto">
            <a:xfrm>
              <a:off x="2016" y="2254"/>
              <a:ext cx="228" cy="193"/>
            </a:xfrm>
            <a:custGeom>
              <a:avLst/>
              <a:gdLst/>
              <a:ahLst/>
              <a:cxnLst>
                <a:cxn ang="0">
                  <a:pos x="121" y="0"/>
                </a:cxn>
                <a:cxn ang="0">
                  <a:pos x="131" y="6"/>
                </a:cxn>
                <a:cxn ang="0">
                  <a:pos x="370" y="183"/>
                </a:cxn>
                <a:cxn ang="0">
                  <a:pos x="564" y="324"/>
                </a:cxn>
                <a:cxn ang="0">
                  <a:pos x="585" y="339"/>
                </a:cxn>
                <a:cxn ang="0">
                  <a:pos x="590" y="363"/>
                </a:cxn>
                <a:cxn ang="0">
                  <a:pos x="566" y="395"/>
                </a:cxn>
                <a:cxn ang="0">
                  <a:pos x="495" y="491"/>
                </a:cxn>
                <a:cxn ang="0">
                  <a:pos x="465" y="496"/>
                </a:cxn>
                <a:cxn ang="0">
                  <a:pos x="355" y="416"/>
                </a:cxn>
                <a:cxn ang="0">
                  <a:pos x="186" y="292"/>
                </a:cxn>
                <a:cxn ang="0">
                  <a:pos x="24" y="173"/>
                </a:cxn>
                <a:cxn ang="0">
                  <a:pos x="16" y="167"/>
                </a:cxn>
                <a:cxn ang="0">
                  <a:pos x="12" y="139"/>
                </a:cxn>
                <a:cxn ang="0">
                  <a:pos x="93" y="33"/>
                </a:cxn>
                <a:cxn ang="0">
                  <a:pos x="109" y="10"/>
                </a:cxn>
                <a:cxn ang="0">
                  <a:pos x="121" y="0"/>
                </a:cxn>
              </a:cxnLst>
              <a:rect l="0" t="0" r="r" b="b"/>
              <a:pathLst>
                <a:path w="598" h="506">
                  <a:moveTo>
                    <a:pt x="121" y="0"/>
                  </a:moveTo>
                  <a:cubicBezTo>
                    <a:pt x="125" y="3"/>
                    <a:pt x="128" y="4"/>
                    <a:pt x="131" y="6"/>
                  </a:cubicBezTo>
                  <a:cubicBezTo>
                    <a:pt x="210" y="65"/>
                    <a:pt x="290" y="124"/>
                    <a:pt x="370" y="183"/>
                  </a:cubicBezTo>
                  <a:cubicBezTo>
                    <a:pt x="435" y="230"/>
                    <a:pt x="499" y="277"/>
                    <a:pt x="564" y="324"/>
                  </a:cubicBezTo>
                  <a:cubicBezTo>
                    <a:pt x="571" y="329"/>
                    <a:pt x="578" y="334"/>
                    <a:pt x="585" y="339"/>
                  </a:cubicBezTo>
                  <a:cubicBezTo>
                    <a:pt x="597" y="347"/>
                    <a:pt x="598" y="352"/>
                    <a:pt x="590" y="363"/>
                  </a:cubicBezTo>
                  <a:cubicBezTo>
                    <a:pt x="583" y="374"/>
                    <a:pt x="574" y="385"/>
                    <a:pt x="566" y="395"/>
                  </a:cubicBezTo>
                  <a:cubicBezTo>
                    <a:pt x="542" y="427"/>
                    <a:pt x="518" y="459"/>
                    <a:pt x="495" y="491"/>
                  </a:cubicBezTo>
                  <a:cubicBezTo>
                    <a:pt x="484" y="505"/>
                    <a:pt x="480" y="506"/>
                    <a:pt x="465" y="496"/>
                  </a:cubicBezTo>
                  <a:cubicBezTo>
                    <a:pt x="428" y="469"/>
                    <a:pt x="392" y="443"/>
                    <a:pt x="355" y="416"/>
                  </a:cubicBezTo>
                  <a:cubicBezTo>
                    <a:pt x="299" y="375"/>
                    <a:pt x="243" y="333"/>
                    <a:pt x="186" y="292"/>
                  </a:cubicBezTo>
                  <a:cubicBezTo>
                    <a:pt x="132" y="253"/>
                    <a:pt x="78" y="213"/>
                    <a:pt x="24" y="173"/>
                  </a:cubicBezTo>
                  <a:cubicBezTo>
                    <a:pt x="21" y="172"/>
                    <a:pt x="19" y="169"/>
                    <a:pt x="16" y="167"/>
                  </a:cubicBezTo>
                  <a:cubicBezTo>
                    <a:pt x="0" y="156"/>
                    <a:pt x="5" y="149"/>
                    <a:pt x="12" y="139"/>
                  </a:cubicBezTo>
                  <a:cubicBezTo>
                    <a:pt x="39" y="104"/>
                    <a:pt x="66" y="68"/>
                    <a:pt x="93" y="33"/>
                  </a:cubicBezTo>
                  <a:cubicBezTo>
                    <a:pt x="98" y="25"/>
                    <a:pt x="103" y="17"/>
                    <a:pt x="109" y="10"/>
                  </a:cubicBezTo>
                  <a:cubicBezTo>
                    <a:pt x="112" y="6"/>
                    <a:pt x="117" y="4"/>
                    <a:pt x="12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25"/>
            <p:cNvSpPr>
              <a:spLocks/>
            </p:cNvSpPr>
            <p:nvPr/>
          </p:nvSpPr>
          <p:spPr bwMode="auto">
            <a:xfrm>
              <a:off x="2203" y="1904"/>
              <a:ext cx="182" cy="21"/>
            </a:xfrm>
            <a:custGeom>
              <a:avLst/>
              <a:gdLst/>
              <a:ahLst/>
              <a:cxnLst>
                <a:cxn ang="0">
                  <a:pos x="239" y="0"/>
                </a:cxn>
                <a:cxn ang="0">
                  <a:pos x="436" y="0"/>
                </a:cxn>
                <a:cxn ang="0">
                  <a:pos x="454" y="1"/>
                </a:cxn>
                <a:cxn ang="0">
                  <a:pos x="477" y="25"/>
                </a:cxn>
                <a:cxn ang="0">
                  <a:pos x="457" y="52"/>
                </a:cxn>
                <a:cxn ang="0">
                  <a:pos x="436" y="55"/>
                </a:cxn>
                <a:cxn ang="0">
                  <a:pos x="45" y="55"/>
                </a:cxn>
                <a:cxn ang="0">
                  <a:pos x="23" y="53"/>
                </a:cxn>
                <a:cxn ang="0">
                  <a:pos x="1" y="26"/>
                </a:cxn>
                <a:cxn ang="0">
                  <a:pos x="25" y="0"/>
                </a:cxn>
                <a:cxn ang="0">
                  <a:pos x="43" y="0"/>
                </a:cxn>
                <a:cxn ang="0">
                  <a:pos x="239" y="0"/>
                </a:cxn>
              </a:cxnLst>
              <a:rect l="0" t="0" r="r" b="b"/>
              <a:pathLst>
                <a:path w="477" h="55">
                  <a:moveTo>
                    <a:pt x="239" y="0"/>
                  </a:moveTo>
                  <a:cubicBezTo>
                    <a:pt x="304" y="0"/>
                    <a:pt x="370" y="0"/>
                    <a:pt x="436" y="0"/>
                  </a:cubicBezTo>
                  <a:cubicBezTo>
                    <a:pt x="442" y="0"/>
                    <a:pt x="448" y="0"/>
                    <a:pt x="454" y="1"/>
                  </a:cubicBezTo>
                  <a:cubicBezTo>
                    <a:pt x="466" y="3"/>
                    <a:pt x="476" y="14"/>
                    <a:pt x="477" y="25"/>
                  </a:cubicBezTo>
                  <a:cubicBezTo>
                    <a:pt x="477" y="37"/>
                    <a:pt x="470" y="49"/>
                    <a:pt x="457" y="52"/>
                  </a:cubicBezTo>
                  <a:cubicBezTo>
                    <a:pt x="451" y="54"/>
                    <a:pt x="443" y="55"/>
                    <a:pt x="436" y="55"/>
                  </a:cubicBezTo>
                  <a:cubicBezTo>
                    <a:pt x="305" y="55"/>
                    <a:pt x="175" y="55"/>
                    <a:pt x="45" y="55"/>
                  </a:cubicBezTo>
                  <a:cubicBezTo>
                    <a:pt x="37" y="55"/>
                    <a:pt x="30" y="54"/>
                    <a:pt x="23" y="53"/>
                  </a:cubicBezTo>
                  <a:cubicBezTo>
                    <a:pt x="9" y="50"/>
                    <a:pt x="0" y="39"/>
                    <a:pt x="1" y="26"/>
                  </a:cubicBezTo>
                  <a:cubicBezTo>
                    <a:pt x="1" y="14"/>
                    <a:pt x="12" y="2"/>
                    <a:pt x="25" y="0"/>
                  </a:cubicBezTo>
                  <a:cubicBezTo>
                    <a:pt x="31" y="0"/>
                    <a:pt x="37" y="0"/>
                    <a:pt x="43" y="0"/>
                  </a:cubicBezTo>
                  <a:cubicBezTo>
                    <a:pt x="108" y="0"/>
                    <a:pt x="173" y="0"/>
                    <a:pt x="23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26"/>
            <p:cNvSpPr>
              <a:spLocks noEditPoints="1"/>
            </p:cNvSpPr>
            <p:nvPr/>
          </p:nvSpPr>
          <p:spPr bwMode="auto">
            <a:xfrm>
              <a:off x="2216" y="2030"/>
              <a:ext cx="39" cy="39"/>
            </a:xfrm>
            <a:custGeom>
              <a:avLst/>
              <a:gdLst/>
              <a:ahLst/>
              <a:cxnLst>
                <a:cxn ang="0">
                  <a:pos x="51" y="100"/>
                </a:cxn>
                <a:cxn ang="0">
                  <a:pos x="23" y="100"/>
                </a:cxn>
                <a:cxn ang="0">
                  <a:pos x="1" y="77"/>
                </a:cxn>
                <a:cxn ang="0">
                  <a:pos x="1" y="23"/>
                </a:cxn>
                <a:cxn ang="0">
                  <a:pos x="24" y="0"/>
                </a:cxn>
                <a:cxn ang="0">
                  <a:pos x="74" y="0"/>
                </a:cxn>
                <a:cxn ang="0">
                  <a:pos x="100" y="22"/>
                </a:cxn>
                <a:cxn ang="0">
                  <a:pos x="100" y="77"/>
                </a:cxn>
                <a:cxn ang="0">
                  <a:pos x="73" y="100"/>
                </a:cxn>
                <a:cxn ang="0">
                  <a:pos x="51" y="100"/>
                </a:cxn>
                <a:cxn ang="0">
                  <a:pos x="51" y="100"/>
                </a:cxn>
                <a:cxn ang="0">
                  <a:pos x="56" y="39"/>
                </a:cxn>
                <a:cxn ang="0">
                  <a:pos x="56" y="40"/>
                </a:cxn>
                <a:cxn ang="0">
                  <a:pos x="22" y="40"/>
                </a:cxn>
                <a:cxn ang="0">
                  <a:pos x="9" y="51"/>
                </a:cxn>
                <a:cxn ang="0">
                  <a:pos x="23" y="64"/>
                </a:cxn>
                <a:cxn ang="0">
                  <a:pos x="80" y="64"/>
                </a:cxn>
                <a:cxn ang="0">
                  <a:pos x="93" y="49"/>
                </a:cxn>
                <a:cxn ang="0">
                  <a:pos x="79" y="39"/>
                </a:cxn>
                <a:cxn ang="0">
                  <a:pos x="56" y="39"/>
                </a:cxn>
              </a:cxnLst>
              <a:rect l="0" t="0" r="r" b="b"/>
              <a:pathLst>
                <a:path w="102" h="101">
                  <a:moveTo>
                    <a:pt x="51" y="100"/>
                  </a:moveTo>
                  <a:cubicBezTo>
                    <a:pt x="42" y="100"/>
                    <a:pt x="33" y="101"/>
                    <a:pt x="23" y="100"/>
                  </a:cubicBezTo>
                  <a:cubicBezTo>
                    <a:pt x="10" y="99"/>
                    <a:pt x="1" y="91"/>
                    <a:pt x="1" y="77"/>
                  </a:cubicBezTo>
                  <a:cubicBezTo>
                    <a:pt x="0" y="59"/>
                    <a:pt x="0" y="41"/>
                    <a:pt x="1" y="23"/>
                  </a:cubicBezTo>
                  <a:cubicBezTo>
                    <a:pt x="1" y="8"/>
                    <a:pt x="9" y="0"/>
                    <a:pt x="24" y="0"/>
                  </a:cubicBezTo>
                  <a:cubicBezTo>
                    <a:pt x="41" y="0"/>
                    <a:pt x="58" y="0"/>
                    <a:pt x="74" y="0"/>
                  </a:cubicBezTo>
                  <a:cubicBezTo>
                    <a:pt x="90" y="0"/>
                    <a:pt x="99" y="7"/>
                    <a:pt x="100" y="22"/>
                  </a:cubicBezTo>
                  <a:cubicBezTo>
                    <a:pt x="102" y="40"/>
                    <a:pt x="102" y="59"/>
                    <a:pt x="100" y="77"/>
                  </a:cubicBezTo>
                  <a:cubicBezTo>
                    <a:pt x="99" y="93"/>
                    <a:pt x="90" y="100"/>
                    <a:pt x="73" y="100"/>
                  </a:cubicBezTo>
                  <a:cubicBezTo>
                    <a:pt x="66" y="100"/>
                    <a:pt x="59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56" y="39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44" y="40"/>
                    <a:pt x="33" y="40"/>
                    <a:pt x="22" y="40"/>
                  </a:cubicBezTo>
                  <a:cubicBezTo>
                    <a:pt x="14" y="40"/>
                    <a:pt x="9" y="42"/>
                    <a:pt x="9" y="51"/>
                  </a:cubicBezTo>
                  <a:cubicBezTo>
                    <a:pt x="9" y="61"/>
                    <a:pt x="14" y="64"/>
                    <a:pt x="23" y="64"/>
                  </a:cubicBezTo>
                  <a:cubicBezTo>
                    <a:pt x="42" y="64"/>
                    <a:pt x="61" y="64"/>
                    <a:pt x="80" y="64"/>
                  </a:cubicBezTo>
                  <a:cubicBezTo>
                    <a:pt x="91" y="63"/>
                    <a:pt x="93" y="60"/>
                    <a:pt x="93" y="49"/>
                  </a:cubicBezTo>
                  <a:cubicBezTo>
                    <a:pt x="92" y="39"/>
                    <a:pt x="87" y="38"/>
                    <a:pt x="79" y="39"/>
                  </a:cubicBezTo>
                  <a:cubicBezTo>
                    <a:pt x="72" y="40"/>
                    <a:pt x="63" y="39"/>
                    <a:pt x="56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27"/>
            <p:cNvSpPr>
              <a:spLocks/>
            </p:cNvSpPr>
            <p:nvPr/>
          </p:nvSpPr>
          <p:spPr bwMode="auto">
            <a:xfrm>
              <a:off x="2326" y="2035"/>
              <a:ext cx="39" cy="24"/>
            </a:xfrm>
            <a:custGeom>
              <a:avLst/>
              <a:gdLst/>
              <a:ahLst/>
              <a:cxnLst>
                <a:cxn ang="0">
                  <a:pos x="1" y="29"/>
                </a:cxn>
                <a:cxn ang="0">
                  <a:pos x="3" y="18"/>
                </a:cxn>
                <a:cxn ang="0">
                  <a:pos x="32" y="6"/>
                </a:cxn>
                <a:cxn ang="0">
                  <a:pos x="63" y="2"/>
                </a:cxn>
                <a:cxn ang="0">
                  <a:pos x="93" y="17"/>
                </a:cxn>
                <a:cxn ang="0">
                  <a:pos x="94" y="49"/>
                </a:cxn>
                <a:cxn ang="0">
                  <a:pos x="63" y="62"/>
                </a:cxn>
                <a:cxn ang="0">
                  <a:pos x="30" y="60"/>
                </a:cxn>
                <a:cxn ang="0">
                  <a:pos x="1" y="29"/>
                </a:cxn>
              </a:cxnLst>
              <a:rect l="0" t="0" r="r" b="b"/>
              <a:pathLst>
                <a:path w="100" h="65">
                  <a:moveTo>
                    <a:pt x="1" y="29"/>
                  </a:moveTo>
                  <a:cubicBezTo>
                    <a:pt x="1" y="28"/>
                    <a:pt x="0" y="20"/>
                    <a:pt x="3" y="18"/>
                  </a:cubicBezTo>
                  <a:cubicBezTo>
                    <a:pt x="12" y="13"/>
                    <a:pt x="22" y="8"/>
                    <a:pt x="32" y="6"/>
                  </a:cubicBezTo>
                  <a:cubicBezTo>
                    <a:pt x="42" y="3"/>
                    <a:pt x="53" y="3"/>
                    <a:pt x="63" y="2"/>
                  </a:cubicBezTo>
                  <a:cubicBezTo>
                    <a:pt x="76" y="0"/>
                    <a:pt x="87" y="6"/>
                    <a:pt x="93" y="17"/>
                  </a:cubicBezTo>
                  <a:cubicBezTo>
                    <a:pt x="100" y="27"/>
                    <a:pt x="99" y="38"/>
                    <a:pt x="94" y="49"/>
                  </a:cubicBezTo>
                  <a:cubicBezTo>
                    <a:pt x="88" y="59"/>
                    <a:pt x="76" y="65"/>
                    <a:pt x="63" y="62"/>
                  </a:cubicBezTo>
                  <a:cubicBezTo>
                    <a:pt x="52" y="60"/>
                    <a:pt x="41" y="59"/>
                    <a:pt x="30" y="60"/>
                  </a:cubicBezTo>
                  <a:cubicBezTo>
                    <a:pt x="8" y="62"/>
                    <a:pt x="1" y="55"/>
                    <a:pt x="1" y="2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28"/>
            <p:cNvSpPr>
              <a:spLocks/>
            </p:cNvSpPr>
            <p:nvPr/>
          </p:nvSpPr>
          <p:spPr bwMode="auto">
            <a:xfrm>
              <a:off x="2220" y="2103"/>
              <a:ext cx="77" cy="11"/>
            </a:xfrm>
            <a:custGeom>
              <a:avLst/>
              <a:gdLst/>
              <a:ahLst/>
              <a:cxnLst>
                <a:cxn ang="0">
                  <a:pos x="169" y="28"/>
                </a:cxn>
                <a:cxn ang="0">
                  <a:pos x="96" y="29"/>
                </a:cxn>
                <a:cxn ang="0">
                  <a:pos x="24" y="29"/>
                </a:cxn>
                <a:cxn ang="0">
                  <a:pos x="7" y="28"/>
                </a:cxn>
                <a:cxn ang="0">
                  <a:pos x="0" y="19"/>
                </a:cxn>
                <a:cxn ang="0">
                  <a:pos x="6" y="11"/>
                </a:cxn>
                <a:cxn ang="0">
                  <a:pos x="20" y="9"/>
                </a:cxn>
                <a:cxn ang="0">
                  <a:pos x="87" y="5"/>
                </a:cxn>
                <a:cxn ang="0">
                  <a:pos x="93" y="6"/>
                </a:cxn>
                <a:cxn ang="0">
                  <a:pos x="147" y="11"/>
                </a:cxn>
                <a:cxn ang="0">
                  <a:pos x="181" y="11"/>
                </a:cxn>
                <a:cxn ang="0">
                  <a:pos x="186" y="10"/>
                </a:cxn>
                <a:cxn ang="0">
                  <a:pos x="198" y="15"/>
                </a:cxn>
                <a:cxn ang="0">
                  <a:pos x="189" y="29"/>
                </a:cxn>
                <a:cxn ang="0">
                  <a:pos x="170" y="29"/>
                </a:cxn>
                <a:cxn ang="0">
                  <a:pos x="169" y="28"/>
                </a:cxn>
              </a:cxnLst>
              <a:rect l="0" t="0" r="r" b="b"/>
              <a:pathLst>
                <a:path w="201" h="29">
                  <a:moveTo>
                    <a:pt x="169" y="28"/>
                  </a:moveTo>
                  <a:cubicBezTo>
                    <a:pt x="145" y="28"/>
                    <a:pt x="121" y="29"/>
                    <a:pt x="96" y="29"/>
                  </a:cubicBezTo>
                  <a:cubicBezTo>
                    <a:pt x="72" y="29"/>
                    <a:pt x="48" y="29"/>
                    <a:pt x="24" y="29"/>
                  </a:cubicBezTo>
                  <a:cubicBezTo>
                    <a:pt x="19" y="29"/>
                    <a:pt x="12" y="29"/>
                    <a:pt x="7" y="28"/>
                  </a:cubicBezTo>
                  <a:cubicBezTo>
                    <a:pt x="4" y="27"/>
                    <a:pt x="0" y="22"/>
                    <a:pt x="0" y="19"/>
                  </a:cubicBezTo>
                  <a:cubicBezTo>
                    <a:pt x="0" y="16"/>
                    <a:pt x="3" y="12"/>
                    <a:pt x="6" y="11"/>
                  </a:cubicBezTo>
                  <a:cubicBezTo>
                    <a:pt x="11" y="9"/>
                    <a:pt x="16" y="9"/>
                    <a:pt x="20" y="9"/>
                  </a:cubicBezTo>
                  <a:cubicBezTo>
                    <a:pt x="43" y="8"/>
                    <a:pt x="65" y="13"/>
                    <a:pt x="87" y="5"/>
                  </a:cubicBezTo>
                  <a:cubicBezTo>
                    <a:pt x="89" y="4"/>
                    <a:pt x="91" y="6"/>
                    <a:pt x="93" y="6"/>
                  </a:cubicBezTo>
                  <a:cubicBezTo>
                    <a:pt x="110" y="14"/>
                    <a:pt x="129" y="12"/>
                    <a:pt x="147" y="11"/>
                  </a:cubicBezTo>
                  <a:cubicBezTo>
                    <a:pt x="158" y="11"/>
                    <a:pt x="169" y="11"/>
                    <a:pt x="181" y="11"/>
                  </a:cubicBezTo>
                  <a:cubicBezTo>
                    <a:pt x="183" y="11"/>
                    <a:pt x="185" y="11"/>
                    <a:pt x="186" y="10"/>
                  </a:cubicBezTo>
                  <a:cubicBezTo>
                    <a:pt x="195" y="0"/>
                    <a:pt x="196" y="10"/>
                    <a:pt x="198" y="15"/>
                  </a:cubicBezTo>
                  <a:cubicBezTo>
                    <a:pt x="201" y="24"/>
                    <a:pt x="198" y="28"/>
                    <a:pt x="189" y="29"/>
                  </a:cubicBezTo>
                  <a:cubicBezTo>
                    <a:pt x="183" y="29"/>
                    <a:pt x="176" y="29"/>
                    <a:pt x="170" y="29"/>
                  </a:cubicBezTo>
                  <a:cubicBezTo>
                    <a:pt x="169" y="28"/>
                    <a:pt x="169" y="28"/>
                    <a:pt x="169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29"/>
            <p:cNvSpPr>
              <a:spLocks/>
            </p:cNvSpPr>
            <p:nvPr/>
          </p:nvSpPr>
          <p:spPr bwMode="auto">
            <a:xfrm>
              <a:off x="2030" y="1651"/>
              <a:ext cx="176" cy="174"/>
            </a:xfrm>
            <a:custGeom>
              <a:avLst/>
              <a:gdLst/>
              <a:ahLst/>
              <a:cxnLst>
                <a:cxn ang="0">
                  <a:pos x="32" y="456"/>
                </a:cxn>
                <a:cxn ang="0">
                  <a:pos x="20" y="446"/>
                </a:cxn>
                <a:cxn ang="0">
                  <a:pos x="152" y="150"/>
                </a:cxn>
                <a:cxn ang="0">
                  <a:pos x="449" y="16"/>
                </a:cxn>
                <a:cxn ang="0">
                  <a:pos x="458" y="30"/>
                </a:cxn>
                <a:cxn ang="0">
                  <a:pos x="444" y="40"/>
                </a:cxn>
                <a:cxn ang="0">
                  <a:pos x="169" y="167"/>
                </a:cxn>
                <a:cxn ang="0">
                  <a:pos x="43" y="442"/>
                </a:cxn>
                <a:cxn ang="0">
                  <a:pos x="34" y="456"/>
                </a:cxn>
                <a:cxn ang="0">
                  <a:pos x="32" y="456"/>
                </a:cxn>
              </a:cxnLst>
              <a:rect l="0" t="0" r="r" b="b"/>
              <a:pathLst>
                <a:path w="460" h="456">
                  <a:moveTo>
                    <a:pt x="32" y="456"/>
                  </a:moveTo>
                  <a:cubicBezTo>
                    <a:pt x="26" y="456"/>
                    <a:pt x="21" y="452"/>
                    <a:pt x="20" y="446"/>
                  </a:cubicBezTo>
                  <a:cubicBezTo>
                    <a:pt x="0" y="344"/>
                    <a:pt x="75" y="226"/>
                    <a:pt x="152" y="150"/>
                  </a:cubicBezTo>
                  <a:cubicBezTo>
                    <a:pt x="250" y="52"/>
                    <a:pt x="367" y="0"/>
                    <a:pt x="449" y="16"/>
                  </a:cubicBezTo>
                  <a:cubicBezTo>
                    <a:pt x="455" y="17"/>
                    <a:pt x="460" y="24"/>
                    <a:pt x="458" y="30"/>
                  </a:cubicBezTo>
                  <a:cubicBezTo>
                    <a:pt x="457" y="37"/>
                    <a:pt x="451" y="41"/>
                    <a:pt x="444" y="40"/>
                  </a:cubicBezTo>
                  <a:cubicBezTo>
                    <a:pt x="370" y="25"/>
                    <a:pt x="262" y="75"/>
                    <a:pt x="169" y="167"/>
                  </a:cubicBezTo>
                  <a:cubicBezTo>
                    <a:pt x="76" y="259"/>
                    <a:pt x="28" y="364"/>
                    <a:pt x="43" y="442"/>
                  </a:cubicBezTo>
                  <a:cubicBezTo>
                    <a:pt x="45" y="448"/>
                    <a:pt x="40" y="454"/>
                    <a:pt x="34" y="456"/>
                  </a:cubicBezTo>
                  <a:cubicBezTo>
                    <a:pt x="33" y="456"/>
                    <a:pt x="32" y="456"/>
                    <a:pt x="32" y="45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30"/>
            <p:cNvSpPr>
              <a:spLocks/>
            </p:cNvSpPr>
            <p:nvPr/>
          </p:nvSpPr>
          <p:spPr bwMode="auto">
            <a:xfrm>
              <a:off x="2065" y="1685"/>
              <a:ext cx="140" cy="139"/>
            </a:xfrm>
            <a:custGeom>
              <a:avLst/>
              <a:gdLst/>
              <a:ahLst/>
              <a:cxnLst>
                <a:cxn ang="0">
                  <a:pos x="28" y="363"/>
                </a:cxn>
                <a:cxn ang="0">
                  <a:pos x="16" y="353"/>
                </a:cxn>
                <a:cxn ang="0">
                  <a:pos x="119" y="120"/>
                </a:cxn>
                <a:cxn ang="0">
                  <a:pos x="356" y="13"/>
                </a:cxn>
                <a:cxn ang="0">
                  <a:pos x="365" y="27"/>
                </a:cxn>
                <a:cxn ang="0">
                  <a:pos x="351" y="37"/>
                </a:cxn>
                <a:cxn ang="0">
                  <a:pos x="136" y="137"/>
                </a:cxn>
                <a:cxn ang="0">
                  <a:pos x="39" y="348"/>
                </a:cxn>
                <a:cxn ang="0">
                  <a:pos x="30" y="363"/>
                </a:cxn>
                <a:cxn ang="0">
                  <a:pos x="28" y="363"/>
                </a:cxn>
              </a:cxnLst>
              <a:rect l="0" t="0" r="r" b="b"/>
              <a:pathLst>
                <a:path w="367" h="363">
                  <a:moveTo>
                    <a:pt x="28" y="363"/>
                  </a:moveTo>
                  <a:cubicBezTo>
                    <a:pt x="22" y="363"/>
                    <a:pt x="17" y="359"/>
                    <a:pt x="16" y="353"/>
                  </a:cubicBezTo>
                  <a:cubicBezTo>
                    <a:pt x="0" y="273"/>
                    <a:pt x="59" y="180"/>
                    <a:pt x="119" y="120"/>
                  </a:cubicBezTo>
                  <a:cubicBezTo>
                    <a:pt x="197" y="42"/>
                    <a:pt x="290" y="0"/>
                    <a:pt x="356" y="13"/>
                  </a:cubicBezTo>
                  <a:cubicBezTo>
                    <a:pt x="362" y="14"/>
                    <a:pt x="367" y="21"/>
                    <a:pt x="365" y="27"/>
                  </a:cubicBezTo>
                  <a:cubicBezTo>
                    <a:pt x="364" y="34"/>
                    <a:pt x="358" y="38"/>
                    <a:pt x="351" y="37"/>
                  </a:cubicBezTo>
                  <a:cubicBezTo>
                    <a:pt x="294" y="25"/>
                    <a:pt x="207" y="66"/>
                    <a:pt x="136" y="137"/>
                  </a:cubicBezTo>
                  <a:cubicBezTo>
                    <a:pt x="65" y="208"/>
                    <a:pt x="28" y="289"/>
                    <a:pt x="39" y="348"/>
                  </a:cubicBezTo>
                  <a:cubicBezTo>
                    <a:pt x="41" y="355"/>
                    <a:pt x="36" y="361"/>
                    <a:pt x="30" y="363"/>
                  </a:cubicBezTo>
                  <a:cubicBezTo>
                    <a:pt x="29" y="363"/>
                    <a:pt x="28" y="363"/>
                    <a:pt x="28" y="3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31"/>
            <p:cNvSpPr>
              <a:spLocks/>
            </p:cNvSpPr>
            <p:nvPr/>
          </p:nvSpPr>
          <p:spPr bwMode="auto">
            <a:xfrm>
              <a:off x="2097" y="1717"/>
              <a:ext cx="111" cy="110"/>
            </a:xfrm>
            <a:custGeom>
              <a:avLst/>
              <a:gdLst/>
              <a:ahLst/>
              <a:cxnLst>
                <a:cxn ang="0">
                  <a:pos x="24" y="287"/>
                </a:cxn>
                <a:cxn ang="0">
                  <a:pos x="12" y="277"/>
                </a:cxn>
                <a:cxn ang="0">
                  <a:pos x="94" y="92"/>
                </a:cxn>
                <a:cxn ang="0">
                  <a:pos x="278" y="10"/>
                </a:cxn>
                <a:cxn ang="0">
                  <a:pos x="287" y="24"/>
                </a:cxn>
                <a:cxn ang="0">
                  <a:pos x="273" y="34"/>
                </a:cxn>
                <a:cxn ang="0">
                  <a:pos x="111" y="109"/>
                </a:cxn>
                <a:cxn ang="0">
                  <a:pos x="35" y="273"/>
                </a:cxn>
                <a:cxn ang="0">
                  <a:pos x="26" y="287"/>
                </a:cxn>
                <a:cxn ang="0">
                  <a:pos x="24" y="287"/>
                </a:cxn>
              </a:cxnLst>
              <a:rect l="0" t="0" r="r" b="b"/>
              <a:pathLst>
                <a:path w="289" h="287">
                  <a:moveTo>
                    <a:pt x="24" y="287"/>
                  </a:moveTo>
                  <a:cubicBezTo>
                    <a:pt x="18" y="287"/>
                    <a:pt x="13" y="283"/>
                    <a:pt x="12" y="277"/>
                  </a:cubicBezTo>
                  <a:cubicBezTo>
                    <a:pt x="0" y="213"/>
                    <a:pt x="46" y="139"/>
                    <a:pt x="94" y="92"/>
                  </a:cubicBezTo>
                  <a:cubicBezTo>
                    <a:pt x="154" y="32"/>
                    <a:pt x="227" y="0"/>
                    <a:pt x="278" y="10"/>
                  </a:cubicBezTo>
                  <a:cubicBezTo>
                    <a:pt x="284" y="11"/>
                    <a:pt x="289" y="18"/>
                    <a:pt x="287" y="24"/>
                  </a:cubicBezTo>
                  <a:cubicBezTo>
                    <a:pt x="286" y="31"/>
                    <a:pt x="280" y="35"/>
                    <a:pt x="273" y="34"/>
                  </a:cubicBezTo>
                  <a:cubicBezTo>
                    <a:pt x="230" y="25"/>
                    <a:pt x="165" y="56"/>
                    <a:pt x="111" y="109"/>
                  </a:cubicBezTo>
                  <a:cubicBezTo>
                    <a:pt x="56" y="164"/>
                    <a:pt x="27" y="227"/>
                    <a:pt x="35" y="273"/>
                  </a:cubicBezTo>
                  <a:cubicBezTo>
                    <a:pt x="37" y="279"/>
                    <a:pt x="32" y="285"/>
                    <a:pt x="26" y="287"/>
                  </a:cubicBezTo>
                  <a:cubicBezTo>
                    <a:pt x="25" y="287"/>
                    <a:pt x="24" y="287"/>
                    <a:pt x="24" y="2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32"/>
            <p:cNvSpPr>
              <a:spLocks/>
            </p:cNvSpPr>
            <p:nvPr/>
          </p:nvSpPr>
          <p:spPr bwMode="auto">
            <a:xfrm>
              <a:off x="2211" y="1908"/>
              <a:ext cx="106" cy="13"/>
            </a:xfrm>
            <a:custGeom>
              <a:avLst/>
              <a:gdLst/>
              <a:ahLst/>
              <a:cxnLst>
                <a:cxn ang="0">
                  <a:pos x="278" y="35"/>
                </a:cxn>
                <a:cxn ang="0">
                  <a:pos x="28" y="35"/>
                </a:cxn>
                <a:cxn ang="0">
                  <a:pos x="14" y="34"/>
                </a:cxn>
                <a:cxn ang="0">
                  <a:pos x="0" y="16"/>
                </a:cxn>
                <a:cxn ang="0">
                  <a:pos x="15" y="0"/>
                </a:cxn>
                <a:cxn ang="0">
                  <a:pos x="27" y="0"/>
                </a:cxn>
                <a:cxn ang="0">
                  <a:pos x="152" y="0"/>
                </a:cxn>
                <a:cxn ang="0">
                  <a:pos x="278" y="0"/>
                </a:cxn>
              </a:cxnLst>
              <a:rect l="0" t="0" r="r" b="b"/>
              <a:pathLst>
                <a:path w="278" h="35">
                  <a:moveTo>
                    <a:pt x="278" y="35"/>
                  </a:moveTo>
                  <a:cubicBezTo>
                    <a:pt x="195" y="35"/>
                    <a:pt x="111" y="35"/>
                    <a:pt x="28" y="35"/>
                  </a:cubicBezTo>
                  <a:cubicBezTo>
                    <a:pt x="23" y="35"/>
                    <a:pt x="18" y="35"/>
                    <a:pt x="14" y="34"/>
                  </a:cubicBezTo>
                  <a:cubicBezTo>
                    <a:pt x="5" y="32"/>
                    <a:pt x="0" y="25"/>
                    <a:pt x="0" y="16"/>
                  </a:cubicBezTo>
                  <a:cubicBezTo>
                    <a:pt x="0" y="9"/>
                    <a:pt x="7" y="1"/>
                    <a:pt x="15" y="0"/>
                  </a:cubicBezTo>
                  <a:cubicBezTo>
                    <a:pt x="19" y="0"/>
                    <a:pt x="23" y="0"/>
                    <a:pt x="27" y="0"/>
                  </a:cubicBezTo>
                  <a:cubicBezTo>
                    <a:pt x="69" y="0"/>
                    <a:pt x="110" y="0"/>
                    <a:pt x="152" y="0"/>
                  </a:cubicBezTo>
                  <a:cubicBezTo>
                    <a:pt x="194" y="0"/>
                    <a:pt x="236" y="0"/>
                    <a:pt x="27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33"/>
            <p:cNvSpPr>
              <a:spLocks noEditPoints="1"/>
            </p:cNvSpPr>
            <p:nvPr/>
          </p:nvSpPr>
          <p:spPr bwMode="auto">
            <a:xfrm>
              <a:off x="2211" y="1938"/>
              <a:ext cx="11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3" y="0"/>
                </a:cxn>
                <a:cxn ang="0">
                  <a:pos x="22" y="1"/>
                </a:cxn>
                <a:cxn ang="0">
                  <a:pos x="28" y="6"/>
                </a:cxn>
                <a:cxn ang="0">
                  <a:pos x="30" y="15"/>
                </a:cxn>
                <a:cxn ang="0">
                  <a:pos x="28" y="24"/>
                </a:cxn>
                <a:cxn ang="0">
                  <a:pos x="23" y="29"/>
                </a:cxn>
                <a:cxn ang="0">
                  <a:pos x="13" y="30"/>
                </a:cxn>
                <a:cxn ang="0">
                  <a:pos x="8" y="30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8"/>
                </a:cxn>
                <a:cxn ang="0">
                  <a:pos x="8" y="22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1" y="19"/>
                </a:cxn>
                <a:cxn ang="0">
                  <a:pos x="22" y="15"/>
                </a:cxn>
                <a:cxn ang="0">
                  <a:pos x="21" y="11"/>
                </a:cxn>
                <a:cxn ang="0">
                  <a:pos x="18" y="9"/>
                </a:cxn>
                <a:cxn ang="0">
                  <a:pos x="12" y="8"/>
                </a:cxn>
                <a:cxn ang="0">
                  <a:pos x="8" y="8"/>
                </a:cxn>
              </a:cxnLst>
              <a:rect l="0" t="0" r="r" b="b"/>
              <a:pathLst>
                <a:path w="30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7" y="0"/>
                    <a:pt x="21" y="0"/>
                    <a:pt x="22" y="1"/>
                  </a:cubicBezTo>
                  <a:cubicBezTo>
                    <a:pt x="24" y="2"/>
                    <a:pt x="26" y="3"/>
                    <a:pt x="28" y="6"/>
                  </a:cubicBezTo>
                  <a:cubicBezTo>
                    <a:pt x="29" y="8"/>
                    <a:pt x="30" y="11"/>
                    <a:pt x="30" y="15"/>
                  </a:cubicBezTo>
                  <a:cubicBezTo>
                    <a:pt x="30" y="19"/>
                    <a:pt x="30" y="22"/>
                    <a:pt x="28" y="24"/>
                  </a:cubicBezTo>
                  <a:cubicBezTo>
                    <a:pt x="27" y="26"/>
                    <a:pt x="25" y="28"/>
                    <a:pt x="23" y="29"/>
                  </a:cubicBezTo>
                  <a:cubicBezTo>
                    <a:pt x="21" y="30"/>
                    <a:pt x="18" y="30"/>
                    <a:pt x="13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8"/>
                  </a:moveTo>
                  <a:cubicBezTo>
                    <a:pt x="8" y="22"/>
                    <a:pt x="8" y="22"/>
                    <a:pt x="8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5" y="22"/>
                    <a:pt x="17" y="22"/>
                    <a:pt x="18" y="22"/>
                  </a:cubicBezTo>
                  <a:cubicBezTo>
                    <a:pt x="19" y="21"/>
                    <a:pt x="20" y="20"/>
                    <a:pt x="21" y="19"/>
                  </a:cubicBezTo>
                  <a:cubicBezTo>
                    <a:pt x="22" y="18"/>
                    <a:pt x="22" y="17"/>
                    <a:pt x="22" y="15"/>
                  </a:cubicBezTo>
                  <a:cubicBezTo>
                    <a:pt x="22" y="14"/>
                    <a:pt x="22" y="12"/>
                    <a:pt x="21" y="11"/>
                  </a:cubicBezTo>
                  <a:cubicBezTo>
                    <a:pt x="20" y="10"/>
                    <a:pt x="19" y="9"/>
                    <a:pt x="18" y="9"/>
                  </a:cubicBezTo>
                  <a:cubicBezTo>
                    <a:pt x="17" y="9"/>
                    <a:pt x="15" y="8"/>
                    <a:pt x="12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34"/>
            <p:cNvSpPr>
              <a:spLocks noEditPoints="1"/>
            </p:cNvSpPr>
            <p:nvPr/>
          </p:nvSpPr>
          <p:spPr bwMode="auto">
            <a:xfrm>
              <a:off x="2225" y="1938"/>
              <a:ext cx="13" cy="19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0" y="0"/>
                </a:cxn>
                <a:cxn ang="0">
                  <a:pos x="17" y="0"/>
                </a:cxn>
                <a:cxn ang="0">
                  <a:pos x="26" y="1"/>
                </a:cxn>
                <a:cxn ang="0">
                  <a:pos x="31" y="6"/>
                </a:cxn>
                <a:cxn ang="0">
                  <a:pos x="33" y="14"/>
                </a:cxn>
                <a:cxn ang="0">
                  <a:pos x="30" y="23"/>
                </a:cxn>
                <a:cxn ang="0">
                  <a:pos x="22" y="27"/>
                </a:cxn>
                <a:cxn ang="0">
                  <a:pos x="26" y="31"/>
                </a:cxn>
                <a:cxn ang="0">
                  <a:pos x="31" y="39"/>
                </a:cxn>
                <a:cxn ang="0">
                  <a:pos x="36" y="49"/>
                </a:cxn>
                <a:cxn ang="0">
                  <a:pos x="26" y="49"/>
                </a:cxn>
                <a:cxn ang="0">
                  <a:pos x="20" y="38"/>
                </a:cxn>
                <a:cxn ang="0">
                  <a:pos x="16" y="31"/>
                </a:cxn>
                <a:cxn ang="0">
                  <a:pos x="14" y="29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8" y="49"/>
                </a:cxn>
                <a:cxn ang="0">
                  <a:pos x="0" y="49"/>
                </a:cxn>
                <a:cxn ang="0">
                  <a:pos x="8" y="21"/>
                </a:cxn>
                <a:cxn ang="0">
                  <a:pos x="14" y="21"/>
                </a:cxn>
                <a:cxn ang="0">
                  <a:pos x="21" y="20"/>
                </a:cxn>
                <a:cxn ang="0">
                  <a:pos x="23" y="18"/>
                </a:cxn>
                <a:cxn ang="0">
                  <a:pos x="24" y="14"/>
                </a:cxn>
                <a:cxn ang="0">
                  <a:pos x="23" y="11"/>
                </a:cxn>
                <a:cxn ang="0">
                  <a:pos x="21" y="9"/>
                </a:cxn>
                <a:cxn ang="0">
                  <a:pos x="14" y="8"/>
                </a:cxn>
                <a:cxn ang="0">
                  <a:pos x="8" y="8"/>
                </a:cxn>
                <a:cxn ang="0">
                  <a:pos x="8" y="21"/>
                </a:cxn>
              </a:cxnLst>
              <a:rect l="0" t="0" r="r" b="b"/>
              <a:pathLst>
                <a:path w="36" h="49">
                  <a:moveTo>
                    <a:pt x="0" y="49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0"/>
                    <a:pt x="24" y="1"/>
                    <a:pt x="26" y="1"/>
                  </a:cubicBezTo>
                  <a:cubicBezTo>
                    <a:pt x="28" y="2"/>
                    <a:pt x="30" y="4"/>
                    <a:pt x="31" y="6"/>
                  </a:cubicBezTo>
                  <a:cubicBezTo>
                    <a:pt x="32" y="8"/>
                    <a:pt x="33" y="11"/>
                    <a:pt x="33" y="14"/>
                  </a:cubicBezTo>
                  <a:cubicBezTo>
                    <a:pt x="33" y="18"/>
                    <a:pt x="32" y="21"/>
                    <a:pt x="30" y="23"/>
                  </a:cubicBezTo>
                  <a:cubicBezTo>
                    <a:pt x="28" y="25"/>
                    <a:pt x="25" y="27"/>
                    <a:pt x="22" y="27"/>
                  </a:cubicBezTo>
                  <a:cubicBezTo>
                    <a:pt x="24" y="29"/>
                    <a:pt x="25" y="30"/>
                    <a:pt x="26" y="31"/>
                  </a:cubicBezTo>
                  <a:cubicBezTo>
                    <a:pt x="27" y="33"/>
                    <a:pt x="29" y="36"/>
                    <a:pt x="31" y="3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18" y="34"/>
                    <a:pt x="17" y="32"/>
                    <a:pt x="16" y="31"/>
                  </a:cubicBezTo>
                  <a:cubicBezTo>
                    <a:pt x="15" y="30"/>
                    <a:pt x="14" y="29"/>
                    <a:pt x="14" y="29"/>
                  </a:cubicBezTo>
                  <a:cubicBezTo>
                    <a:pt x="13" y="29"/>
                    <a:pt x="11" y="29"/>
                    <a:pt x="10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49"/>
                    <a:pt x="8" y="49"/>
                    <a:pt x="8" y="49"/>
                  </a:cubicBezTo>
                  <a:lnTo>
                    <a:pt x="0" y="49"/>
                  </a:lnTo>
                  <a:close/>
                  <a:moveTo>
                    <a:pt x="8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8" y="21"/>
                    <a:pt x="20" y="21"/>
                    <a:pt x="21" y="20"/>
                  </a:cubicBezTo>
                  <a:cubicBezTo>
                    <a:pt x="22" y="20"/>
                    <a:pt x="23" y="19"/>
                    <a:pt x="23" y="18"/>
                  </a:cubicBezTo>
                  <a:cubicBezTo>
                    <a:pt x="24" y="17"/>
                    <a:pt x="24" y="16"/>
                    <a:pt x="24" y="14"/>
                  </a:cubicBezTo>
                  <a:cubicBezTo>
                    <a:pt x="24" y="13"/>
                    <a:pt x="24" y="12"/>
                    <a:pt x="23" y="11"/>
                  </a:cubicBezTo>
                  <a:cubicBezTo>
                    <a:pt x="23" y="10"/>
                    <a:pt x="22" y="9"/>
                    <a:pt x="21" y="9"/>
                  </a:cubicBezTo>
                  <a:cubicBezTo>
                    <a:pt x="20" y="9"/>
                    <a:pt x="18" y="8"/>
                    <a:pt x="14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2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35"/>
            <p:cNvSpPr>
              <a:spLocks noEditPoints="1"/>
            </p:cNvSpPr>
            <p:nvPr/>
          </p:nvSpPr>
          <p:spPr bwMode="auto">
            <a:xfrm>
              <a:off x="2240" y="1938"/>
              <a:ext cx="14" cy="20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2" y="11"/>
                </a:cxn>
                <a:cxn ang="0">
                  <a:pos x="9" y="3"/>
                </a:cxn>
                <a:cxn ang="0">
                  <a:pos x="19" y="0"/>
                </a:cxn>
                <a:cxn ang="0">
                  <a:pos x="33" y="7"/>
                </a:cxn>
                <a:cxn ang="0">
                  <a:pos x="38" y="25"/>
                </a:cxn>
                <a:cxn ang="0">
                  <a:pos x="33" y="45"/>
                </a:cxn>
                <a:cxn ang="0">
                  <a:pos x="19" y="51"/>
                </a:cxn>
                <a:cxn ang="0">
                  <a:pos x="5" y="45"/>
                </a:cxn>
                <a:cxn ang="0">
                  <a:pos x="0" y="26"/>
                </a:cxn>
                <a:cxn ang="0">
                  <a:pos x="8" y="25"/>
                </a:cxn>
                <a:cxn ang="0">
                  <a:pos x="11" y="38"/>
                </a:cxn>
                <a:cxn ang="0">
                  <a:pos x="19" y="42"/>
                </a:cxn>
                <a:cxn ang="0">
                  <a:pos x="27" y="38"/>
                </a:cxn>
                <a:cxn ang="0">
                  <a:pos x="30" y="25"/>
                </a:cxn>
                <a:cxn ang="0">
                  <a:pos x="27" y="13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8" y="25"/>
                </a:cxn>
              </a:cxnLst>
              <a:rect l="0" t="0" r="r" b="b"/>
              <a:pathLst>
                <a:path w="38" h="51">
                  <a:moveTo>
                    <a:pt x="0" y="26"/>
                  </a:moveTo>
                  <a:cubicBezTo>
                    <a:pt x="0" y="20"/>
                    <a:pt x="1" y="15"/>
                    <a:pt x="2" y="11"/>
                  </a:cubicBezTo>
                  <a:cubicBezTo>
                    <a:pt x="4" y="8"/>
                    <a:pt x="6" y="5"/>
                    <a:pt x="9" y="3"/>
                  </a:cubicBezTo>
                  <a:cubicBezTo>
                    <a:pt x="12" y="1"/>
                    <a:pt x="15" y="0"/>
                    <a:pt x="19" y="0"/>
                  </a:cubicBezTo>
                  <a:cubicBezTo>
                    <a:pt x="25" y="0"/>
                    <a:pt x="29" y="2"/>
                    <a:pt x="33" y="7"/>
                  </a:cubicBezTo>
                  <a:cubicBezTo>
                    <a:pt x="37" y="11"/>
                    <a:pt x="38" y="17"/>
                    <a:pt x="38" y="25"/>
                  </a:cubicBezTo>
                  <a:cubicBezTo>
                    <a:pt x="38" y="34"/>
                    <a:pt x="37" y="40"/>
                    <a:pt x="33" y="45"/>
                  </a:cubicBezTo>
                  <a:cubicBezTo>
                    <a:pt x="29" y="49"/>
                    <a:pt x="25" y="51"/>
                    <a:pt x="19" y="51"/>
                  </a:cubicBezTo>
                  <a:cubicBezTo>
                    <a:pt x="13" y="51"/>
                    <a:pt x="9" y="49"/>
                    <a:pt x="5" y="45"/>
                  </a:cubicBezTo>
                  <a:cubicBezTo>
                    <a:pt x="2" y="40"/>
                    <a:pt x="0" y="34"/>
                    <a:pt x="0" y="26"/>
                  </a:cubicBezTo>
                  <a:close/>
                  <a:moveTo>
                    <a:pt x="8" y="25"/>
                  </a:moveTo>
                  <a:cubicBezTo>
                    <a:pt x="8" y="31"/>
                    <a:pt x="9" y="35"/>
                    <a:pt x="11" y="38"/>
                  </a:cubicBezTo>
                  <a:cubicBezTo>
                    <a:pt x="13" y="41"/>
                    <a:pt x="16" y="42"/>
                    <a:pt x="19" y="42"/>
                  </a:cubicBezTo>
                  <a:cubicBezTo>
                    <a:pt x="22" y="42"/>
                    <a:pt x="25" y="41"/>
                    <a:pt x="27" y="38"/>
                  </a:cubicBezTo>
                  <a:cubicBezTo>
                    <a:pt x="29" y="35"/>
                    <a:pt x="30" y="31"/>
                    <a:pt x="30" y="25"/>
                  </a:cubicBezTo>
                  <a:cubicBezTo>
                    <a:pt x="30" y="20"/>
                    <a:pt x="29" y="15"/>
                    <a:pt x="27" y="13"/>
                  </a:cubicBezTo>
                  <a:cubicBezTo>
                    <a:pt x="25" y="10"/>
                    <a:pt x="22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9" y="16"/>
                    <a:pt x="8" y="20"/>
                    <a:pt x="8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36"/>
            <p:cNvSpPr>
              <a:spLocks/>
            </p:cNvSpPr>
            <p:nvPr/>
          </p:nvSpPr>
          <p:spPr bwMode="auto">
            <a:xfrm>
              <a:off x="2256" y="1938"/>
              <a:ext cx="13" cy="20"/>
            </a:xfrm>
            <a:custGeom>
              <a:avLst/>
              <a:gdLst/>
              <a:ahLst/>
              <a:cxnLst>
                <a:cxn ang="0">
                  <a:pos x="27" y="32"/>
                </a:cxn>
                <a:cxn ang="0">
                  <a:pos x="35" y="35"/>
                </a:cxn>
                <a:cxn ang="0">
                  <a:pos x="29" y="47"/>
                </a:cxn>
                <a:cxn ang="0">
                  <a:pos x="19" y="51"/>
                </a:cxn>
                <a:cxn ang="0">
                  <a:pos x="6" y="45"/>
                </a:cxn>
                <a:cxn ang="0">
                  <a:pos x="0" y="26"/>
                </a:cxn>
                <a:cxn ang="0">
                  <a:pos x="6" y="6"/>
                </a:cxn>
                <a:cxn ang="0">
                  <a:pos x="19" y="0"/>
                </a:cxn>
                <a:cxn ang="0">
                  <a:pos x="30" y="5"/>
                </a:cxn>
                <a:cxn ang="0">
                  <a:pos x="35" y="15"/>
                </a:cxn>
                <a:cxn ang="0">
                  <a:pos x="27" y="17"/>
                </a:cxn>
                <a:cxn ang="0">
                  <a:pos x="24" y="11"/>
                </a:cxn>
                <a:cxn ang="0">
                  <a:pos x="19" y="9"/>
                </a:cxn>
                <a:cxn ang="0">
                  <a:pos x="11" y="13"/>
                </a:cxn>
                <a:cxn ang="0">
                  <a:pos x="9" y="25"/>
                </a:cxn>
                <a:cxn ang="0">
                  <a:pos x="11" y="38"/>
                </a:cxn>
                <a:cxn ang="0">
                  <a:pos x="18" y="42"/>
                </a:cxn>
                <a:cxn ang="0">
                  <a:pos x="24" y="40"/>
                </a:cxn>
                <a:cxn ang="0">
                  <a:pos x="27" y="32"/>
                </a:cxn>
              </a:cxnLst>
              <a:rect l="0" t="0" r="r" b="b"/>
              <a:pathLst>
                <a:path w="35" h="51">
                  <a:moveTo>
                    <a:pt x="27" y="32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34" y="40"/>
                    <a:pt x="32" y="44"/>
                    <a:pt x="29" y="47"/>
                  </a:cubicBezTo>
                  <a:cubicBezTo>
                    <a:pt x="26" y="49"/>
                    <a:pt x="23" y="51"/>
                    <a:pt x="19" y="51"/>
                  </a:cubicBezTo>
                  <a:cubicBezTo>
                    <a:pt x="13" y="51"/>
                    <a:pt x="9" y="49"/>
                    <a:pt x="6" y="45"/>
                  </a:cubicBezTo>
                  <a:cubicBezTo>
                    <a:pt x="2" y="40"/>
                    <a:pt x="0" y="34"/>
                    <a:pt x="0" y="26"/>
                  </a:cubicBezTo>
                  <a:cubicBezTo>
                    <a:pt x="0" y="18"/>
                    <a:pt x="2" y="11"/>
                    <a:pt x="6" y="6"/>
                  </a:cubicBezTo>
                  <a:cubicBezTo>
                    <a:pt x="9" y="2"/>
                    <a:pt x="14" y="0"/>
                    <a:pt x="19" y="0"/>
                  </a:cubicBezTo>
                  <a:cubicBezTo>
                    <a:pt x="24" y="0"/>
                    <a:pt x="27" y="2"/>
                    <a:pt x="30" y="5"/>
                  </a:cubicBezTo>
                  <a:cubicBezTo>
                    <a:pt x="33" y="7"/>
                    <a:pt x="34" y="10"/>
                    <a:pt x="35" y="15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4"/>
                    <a:pt x="26" y="12"/>
                    <a:pt x="24" y="11"/>
                  </a:cubicBezTo>
                  <a:cubicBezTo>
                    <a:pt x="23" y="9"/>
                    <a:pt x="21" y="9"/>
                    <a:pt x="19" y="9"/>
                  </a:cubicBezTo>
                  <a:cubicBezTo>
                    <a:pt x="16" y="9"/>
                    <a:pt x="13" y="10"/>
                    <a:pt x="11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6"/>
                    <a:pt x="11" y="38"/>
                  </a:cubicBezTo>
                  <a:cubicBezTo>
                    <a:pt x="13" y="41"/>
                    <a:pt x="16" y="42"/>
                    <a:pt x="18" y="42"/>
                  </a:cubicBezTo>
                  <a:cubicBezTo>
                    <a:pt x="21" y="42"/>
                    <a:pt x="22" y="41"/>
                    <a:pt x="24" y="40"/>
                  </a:cubicBezTo>
                  <a:cubicBezTo>
                    <a:pt x="26" y="38"/>
                    <a:pt x="27" y="36"/>
                    <a:pt x="27" y="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37"/>
            <p:cNvSpPr>
              <a:spLocks/>
            </p:cNvSpPr>
            <p:nvPr/>
          </p:nvSpPr>
          <p:spPr bwMode="auto">
            <a:xfrm>
              <a:off x="2272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3" y="4"/>
                </a:cxn>
                <a:cxn ang="0">
                  <a:pos x="3" y="8"/>
                </a:cxn>
                <a:cxn ang="0">
                  <a:pos x="11" y="8"/>
                </a:cxn>
                <a:cxn ang="0">
                  <a:pos x="11" y="11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12" y="16"/>
                </a:cxn>
                <a:cxn ang="0">
                  <a:pos x="12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3" y="4"/>
                  </a:lnTo>
                  <a:lnTo>
                    <a:pt x="3" y="8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3" y="11"/>
                  </a:lnTo>
                  <a:lnTo>
                    <a:pt x="3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38"/>
            <p:cNvSpPr>
              <a:spLocks/>
            </p:cNvSpPr>
            <p:nvPr/>
          </p:nvSpPr>
          <p:spPr bwMode="auto">
            <a:xfrm>
              <a:off x="2285" y="1938"/>
              <a:ext cx="13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4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3" y="7"/>
                </a:cxn>
                <a:cxn ang="0">
                  <a:pos x="8" y="2"/>
                </a:cxn>
                <a:cxn ang="0">
                  <a:pos x="16" y="0"/>
                </a:cxn>
                <a:cxn ang="0">
                  <a:pos x="27" y="4"/>
                </a:cxn>
                <a:cxn ang="0">
                  <a:pos x="32" y="15"/>
                </a:cxn>
                <a:cxn ang="0">
                  <a:pos x="23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9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4" y="34"/>
                    <a:pt x="24" y="33"/>
                  </a:cubicBezTo>
                  <a:cubicBezTo>
                    <a:pt x="23" y="32"/>
                    <a:pt x="23" y="31"/>
                    <a:pt x="22" y="31"/>
                  </a:cubicBezTo>
                  <a:cubicBezTo>
                    <a:pt x="21" y="30"/>
                    <a:pt x="18" y="30"/>
                    <a:pt x="14" y="28"/>
                  </a:cubicBezTo>
                  <a:cubicBezTo>
                    <a:pt x="11" y="27"/>
                    <a:pt x="8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3" y="7"/>
                  </a:cubicBezTo>
                  <a:cubicBezTo>
                    <a:pt x="5" y="5"/>
                    <a:pt x="6" y="3"/>
                    <a:pt x="8" y="2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21" y="0"/>
                    <a:pt x="25" y="2"/>
                    <a:pt x="27" y="4"/>
                  </a:cubicBezTo>
                  <a:cubicBezTo>
                    <a:pt x="30" y="7"/>
                    <a:pt x="31" y="10"/>
                    <a:pt x="32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3"/>
                    <a:pt x="22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9" y="12"/>
                    <a:pt x="9" y="13"/>
                  </a:cubicBezTo>
                  <a:cubicBezTo>
                    <a:pt x="9" y="15"/>
                    <a:pt x="10" y="16"/>
                    <a:pt x="11" y="17"/>
                  </a:cubicBezTo>
                  <a:cubicBezTo>
                    <a:pt x="12" y="17"/>
                    <a:pt x="14" y="18"/>
                    <a:pt x="18" y="20"/>
                  </a:cubicBezTo>
                  <a:cubicBezTo>
                    <a:pt x="22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1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39"/>
            <p:cNvSpPr>
              <a:spLocks/>
            </p:cNvSpPr>
            <p:nvPr/>
          </p:nvSpPr>
          <p:spPr bwMode="auto">
            <a:xfrm>
              <a:off x="2300" y="1938"/>
              <a:ext cx="12" cy="20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8" y="33"/>
                </a:cxn>
                <a:cxn ang="0">
                  <a:pos x="17" y="42"/>
                </a:cxn>
                <a:cxn ang="0">
                  <a:pos x="23" y="40"/>
                </a:cxn>
                <a:cxn ang="0">
                  <a:pos x="25" y="36"/>
                </a:cxn>
                <a:cxn ang="0">
                  <a:pos x="24" y="33"/>
                </a:cxn>
                <a:cxn ang="0">
                  <a:pos x="22" y="31"/>
                </a:cxn>
                <a:cxn ang="0">
                  <a:pos x="15" y="28"/>
                </a:cxn>
                <a:cxn ang="0">
                  <a:pos x="7" y="25"/>
                </a:cxn>
                <a:cxn ang="0">
                  <a:pos x="3" y="20"/>
                </a:cxn>
                <a:cxn ang="0">
                  <a:pos x="2" y="14"/>
                </a:cxn>
                <a:cxn ang="0">
                  <a:pos x="4" y="7"/>
                </a:cxn>
                <a:cxn ang="0">
                  <a:pos x="9" y="2"/>
                </a:cxn>
                <a:cxn ang="0">
                  <a:pos x="17" y="0"/>
                </a:cxn>
                <a:cxn ang="0">
                  <a:pos x="28" y="4"/>
                </a:cxn>
                <a:cxn ang="0">
                  <a:pos x="32" y="15"/>
                </a:cxn>
                <a:cxn ang="0">
                  <a:pos x="24" y="15"/>
                </a:cxn>
                <a:cxn ang="0">
                  <a:pos x="21" y="10"/>
                </a:cxn>
                <a:cxn ang="0">
                  <a:pos x="16" y="8"/>
                </a:cxn>
                <a:cxn ang="0">
                  <a:pos x="11" y="10"/>
                </a:cxn>
                <a:cxn ang="0">
                  <a:pos x="10" y="13"/>
                </a:cxn>
                <a:cxn ang="0">
                  <a:pos x="11" y="17"/>
                </a:cxn>
                <a:cxn ang="0">
                  <a:pos x="18" y="20"/>
                </a:cxn>
                <a:cxn ang="0">
                  <a:pos x="27" y="23"/>
                </a:cxn>
                <a:cxn ang="0">
                  <a:pos x="31" y="28"/>
                </a:cxn>
                <a:cxn ang="0">
                  <a:pos x="33" y="36"/>
                </a:cxn>
                <a:cxn ang="0">
                  <a:pos x="29" y="46"/>
                </a:cxn>
                <a:cxn ang="0">
                  <a:pos x="17" y="51"/>
                </a:cxn>
                <a:cxn ang="0">
                  <a:pos x="0" y="34"/>
                </a:cxn>
              </a:cxnLst>
              <a:rect l="0" t="0" r="r" b="b"/>
              <a:pathLst>
                <a:path w="33" h="51">
                  <a:moveTo>
                    <a:pt x="0" y="34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9" y="39"/>
                    <a:pt x="12" y="42"/>
                    <a:pt x="17" y="42"/>
                  </a:cubicBezTo>
                  <a:cubicBezTo>
                    <a:pt x="19" y="42"/>
                    <a:pt x="21" y="42"/>
                    <a:pt x="23" y="40"/>
                  </a:cubicBezTo>
                  <a:cubicBezTo>
                    <a:pt x="24" y="39"/>
                    <a:pt x="25" y="38"/>
                    <a:pt x="25" y="36"/>
                  </a:cubicBezTo>
                  <a:cubicBezTo>
                    <a:pt x="25" y="35"/>
                    <a:pt x="25" y="34"/>
                    <a:pt x="24" y="33"/>
                  </a:cubicBezTo>
                  <a:cubicBezTo>
                    <a:pt x="24" y="32"/>
                    <a:pt x="23" y="31"/>
                    <a:pt x="22" y="31"/>
                  </a:cubicBezTo>
                  <a:cubicBezTo>
                    <a:pt x="21" y="30"/>
                    <a:pt x="18" y="30"/>
                    <a:pt x="15" y="28"/>
                  </a:cubicBezTo>
                  <a:cubicBezTo>
                    <a:pt x="11" y="27"/>
                    <a:pt x="9" y="26"/>
                    <a:pt x="7" y="25"/>
                  </a:cubicBezTo>
                  <a:cubicBezTo>
                    <a:pt x="5" y="24"/>
                    <a:pt x="4" y="22"/>
                    <a:pt x="3" y="20"/>
                  </a:cubicBezTo>
                  <a:cubicBezTo>
                    <a:pt x="2" y="18"/>
                    <a:pt x="2" y="16"/>
                    <a:pt x="2" y="14"/>
                  </a:cubicBezTo>
                  <a:cubicBezTo>
                    <a:pt x="2" y="11"/>
                    <a:pt x="2" y="9"/>
                    <a:pt x="4" y="7"/>
                  </a:cubicBezTo>
                  <a:cubicBezTo>
                    <a:pt x="5" y="5"/>
                    <a:pt x="7" y="3"/>
                    <a:pt x="9" y="2"/>
                  </a:cubicBezTo>
                  <a:cubicBezTo>
                    <a:pt x="11" y="1"/>
                    <a:pt x="13" y="0"/>
                    <a:pt x="17" y="0"/>
                  </a:cubicBezTo>
                  <a:cubicBezTo>
                    <a:pt x="21" y="0"/>
                    <a:pt x="25" y="2"/>
                    <a:pt x="28" y="4"/>
                  </a:cubicBezTo>
                  <a:cubicBezTo>
                    <a:pt x="30" y="7"/>
                    <a:pt x="32" y="10"/>
                    <a:pt x="32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3"/>
                    <a:pt x="23" y="11"/>
                    <a:pt x="21" y="10"/>
                  </a:cubicBezTo>
                  <a:cubicBezTo>
                    <a:pt x="20" y="9"/>
                    <a:pt x="18" y="8"/>
                    <a:pt x="16" y="8"/>
                  </a:cubicBezTo>
                  <a:cubicBezTo>
                    <a:pt x="14" y="8"/>
                    <a:pt x="12" y="9"/>
                    <a:pt x="11" y="10"/>
                  </a:cubicBezTo>
                  <a:cubicBezTo>
                    <a:pt x="10" y="11"/>
                    <a:pt x="10" y="12"/>
                    <a:pt x="10" y="13"/>
                  </a:cubicBezTo>
                  <a:cubicBezTo>
                    <a:pt x="10" y="15"/>
                    <a:pt x="10" y="16"/>
                    <a:pt x="11" y="17"/>
                  </a:cubicBezTo>
                  <a:cubicBezTo>
                    <a:pt x="12" y="17"/>
                    <a:pt x="15" y="18"/>
                    <a:pt x="18" y="20"/>
                  </a:cubicBezTo>
                  <a:cubicBezTo>
                    <a:pt x="23" y="21"/>
                    <a:pt x="25" y="22"/>
                    <a:pt x="27" y="23"/>
                  </a:cubicBezTo>
                  <a:cubicBezTo>
                    <a:pt x="29" y="25"/>
                    <a:pt x="30" y="26"/>
                    <a:pt x="31" y="28"/>
                  </a:cubicBezTo>
                  <a:cubicBezTo>
                    <a:pt x="32" y="30"/>
                    <a:pt x="33" y="33"/>
                    <a:pt x="33" y="36"/>
                  </a:cubicBezTo>
                  <a:cubicBezTo>
                    <a:pt x="33" y="40"/>
                    <a:pt x="32" y="43"/>
                    <a:pt x="29" y="46"/>
                  </a:cubicBezTo>
                  <a:cubicBezTo>
                    <a:pt x="26" y="49"/>
                    <a:pt x="22" y="51"/>
                    <a:pt x="17" y="51"/>
                  </a:cubicBezTo>
                  <a:cubicBezTo>
                    <a:pt x="7" y="51"/>
                    <a:pt x="1" y="45"/>
                    <a:pt x="0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Rectangle 40"/>
            <p:cNvSpPr>
              <a:spLocks noChangeArrowheads="1"/>
            </p:cNvSpPr>
            <p:nvPr/>
          </p:nvSpPr>
          <p:spPr bwMode="auto">
            <a:xfrm>
              <a:off x="2315" y="1938"/>
              <a:ext cx="3" cy="1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41"/>
            <p:cNvSpPr>
              <a:spLocks/>
            </p:cNvSpPr>
            <p:nvPr/>
          </p:nvSpPr>
          <p:spPr bwMode="auto">
            <a:xfrm>
              <a:off x="2321" y="1938"/>
              <a:ext cx="12" cy="19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9" y="13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2" y="19"/>
                </a:cxn>
                <a:cxn ang="0">
                  <a:pos x="9" y="19"/>
                </a:cxn>
                <a:cxn ang="0">
                  <a:pos x="3" y="7"/>
                </a:cxn>
                <a:cxn ang="0">
                  <a:pos x="3" y="19"/>
                </a:cxn>
                <a:cxn ang="0">
                  <a:pos x="0" y="19"/>
                </a:cxn>
              </a:cxnLst>
              <a:rect l="0" t="0" r="r" b="b"/>
              <a:pathLst>
                <a:path w="12" h="19">
                  <a:moveTo>
                    <a:pt x="0" y="19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9" y="13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3" y="7"/>
                  </a:lnTo>
                  <a:lnTo>
                    <a:pt x="3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42"/>
            <p:cNvSpPr>
              <a:spLocks/>
            </p:cNvSpPr>
            <p:nvPr/>
          </p:nvSpPr>
          <p:spPr bwMode="auto">
            <a:xfrm>
              <a:off x="2336" y="1938"/>
              <a:ext cx="14" cy="20"/>
            </a:xfrm>
            <a:custGeom>
              <a:avLst/>
              <a:gdLst/>
              <a:ahLst/>
              <a:cxnLst>
                <a:cxn ang="0">
                  <a:pos x="20" y="32"/>
                </a:cxn>
                <a:cxn ang="0">
                  <a:pos x="20" y="24"/>
                </a:cxn>
                <a:cxn ang="0">
                  <a:pos x="38" y="24"/>
                </a:cxn>
                <a:cxn ang="0">
                  <a:pos x="38" y="43"/>
                </a:cxn>
                <a:cxn ang="0">
                  <a:pos x="30" y="48"/>
                </a:cxn>
                <a:cxn ang="0">
                  <a:pos x="21" y="51"/>
                </a:cxn>
                <a:cxn ang="0">
                  <a:pos x="10" y="48"/>
                </a:cxn>
                <a:cxn ang="0">
                  <a:pos x="3" y="39"/>
                </a:cxn>
                <a:cxn ang="0">
                  <a:pos x="0" y="25"/>
                </a:cxn>
                <a:cxn ang="0">
                  <a:pos x="3" y="12"/>
                </a:cxn>
                <a:cxn ang="0">
                  <a:pos x="10" y="3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37" y="15"/>
                </a:cxn>
                <a:cxn ang="0">
                  <a:pos x="29" y="16"/>
                </a:cxn>
                <a:cxn ang="0">
                  <a:pos x="26" y="11"/>
                </a:cxn>
                <a:cxn ang="0">
                  <a:pos x="20" y="9"/>
                </a:cxn>
                <a:cxn ang="0">
                  <a:pos x="12" y="13"/>
                </a:cxn>
                <a:cxn ang="0">
                  <a:pos x="9" y="25"/>
                </a:cxn>
                <a:cxn ang="0">
                  <a:pos x="12" y="38"/>
                </a:cxn>
                <a:cxn ang="0">
                  <a:pos x="20" y="42"/>
                </a:cxn>
                <a:cxn ang="0">
                  <a:pos x="25" y="41"/>
                </a:cxn>
                <a:cxn ang="0">
                  <a:pos x="30" y="38"/>
                </a:cxn>
                <a:cxn ang="0">
                  <a:pos x="30" y="32"/>
                </a:cxn>
                <a:cxn ang="0">
                  <a:pos x="20" y="32"/>
                </a:cxn>
              </a:cxnLst>
              <a:rect l="0" t="0" r="r" b="b"/>
              <a:pathLst>
                <a:path w="38" h="51">
                  <a:moveTo>
                    <a:pt x="20" y="32"/>
                  </a:moveTo>
                  <a:cubicBezTo>
                    <a:pt x="20" y="24"/>
                    <a:pt x="20" y="24"/>
                    <a:pt x="20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6" y="45"/>
                    <a:pt x="34" y="47"/>
                    <a:pt x="30" y="48"/>
                  </a:cubicBezTo>
                  <a:cubicBezTo>
                    <a:pt x="27" y="50"/>
                    <a:pt x="24" y="51"/>
                    <a:pt x="21" y="51"/>
                  </a:cubicBezTo>
                  <a:cubicBezTo>
                    <a:pt x="17" y="51"/>
                    <a:pt x="13" y="50"/>
                    <a:pt x="10" y="48"/>
                  </a:cubicBezTo>
                  <a:cubicBezTo>
                    <a:pt x="7" y="46"/>
                    <a:pt x="5" y="43"/>
                    <a:pt x="3" y="39"/>
                  </a:cubicBezTo>
                  <a:cubicBezTo>
                    <a:pt x="1" y="35"/>
                    <a:pt x="0" y="31"/>
                    <a:pt x="0" y="25"/>
                  </a:cubicBezTo>
                  <a:cubicBezTo>
                    <a:pt x="0" y="20"/>
                    <a:pt x="1" y="15"/>
                    <a:pt x="3" y="12"/>
                  </a:cubicBezTo>
                  <a:cubicBezTo>
                    <a:pt x="5" y="8"/>
                    <a:pt x="7" y="5"/>
                    <a:pt x="10" y="3"/>
                  </a:cubicBezTo>
                  <a:cubicBezTo>
                    <a:pt x="13" y="1"/>
                    <a:pt x="16" y="0"/>
                    <a:pt x="20" y="0"/>
                  </a:cubicBezTo>
                  <a:cubicBezTo>
                    <a:pt x="25" y="0"/>
                    <a:pt x="29" y="2"/>
                    <a:pt x="32" y="4"/>
                  </a:cubicBezTo>
                  <a:cubicBezTo>
                    <a:pt x="35" y="6"/>
                    <a:pt x="36" y="10"/>
                    <a:pt x="37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4"/>
                    <a:pt x="28" y="12"/>
                    <a:pt x="26" y="11"/>
                  </a:cubicBezTo>
                  <a:cubicBezTo>
                    <a:pt x="24" y="9"/>
                    <a:pt x="22" y="9"/>
                    <a:pt x="20" y="9"/>
                  </a:cubicBezTo>
                  <a:cubicBezTo>
                    <a:pt x="17" y="9"/>
                    <a:pt x="14" y="10"/>
                    <a:pt x="12" y="13"/>
                  </a:cubicBezTo>
                  <a:cubicBezTo>
                    <a:pt x="10" y="15"/>
                    <a:pt x="9" y="19"/>
                    <a:pt x="9" y="25"/>
                  </a:cubicBezTo>
                  <a:cubicBezTo>
                    <a:pt x="9" y="31"/>
                    <a:pt x="10" y="35"/>
                    <a:pt x="12" y="38"/>
                  </a:cubicBezTo>
                  <a:cubicBezTo>
                    <a:pt x="14" y="41"/>
                    <a:pt x="17" y="42"/>
                    <a:pt x="20" y="42"/>
                  </a:cubicBezTo>
                  <a:cubicBezTo>
                    <a:pt x="22" y="42"/>
                    <a:pt x="23" y="42"/>
                    <a:pt x="25" y="41"/>
                  </a:cubicBezTo>
                  <a:cubicBezTo>
                    <a:pt x="27" y="40"/>
                    <a:pt x="28" y="39"/>
                    <a:pt x="30" y="38"/>
                  </a:cubicBezTo>
                  <a:cubicBezTo>
                    <a:pt x="30" y="32"/>
                    <a:pt x="30" y="32"/>
                    <a:pt x="30" y="32"/>
                  </a:cubicBezTo>
                  <a:lnTo>
                    <a:pt x="20" y="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3" name="Groupe 88"/>
          <p:cNvGrpSpPr/>
          <p:nvPr/>
        </p:nvGrpSpPr>
        <p:grpSpPr>
          <a:xfrm>
            <a:off x="2774125" y="2581106"/>
            <a:ext cx="397332" cy="172058"/>
            <a:chOff x="7301772" y="3187359"/>
            <a:chExt cx="803194" cy="347810"/>
          </a:xfrm>
          <a:solidFill>
            <a:srgbClr val="000000"/>
          </a:solidFill>
        </p:grpSpPr>
        <p:grpSp>
          <p:nvGrpSpPr>
            <p:cNvPr id="74" name="Group 112"/>
            <p:cNvGrpSpPr>
              <a:grpSpLocks noChangeAspect="1"/>
            </p:cNvGrpSpPr>
            <p:nvPr/>
          </p:nvGrpSpPr>
          <p:grpSpPr bwMode="auto">
            <a:xfrm>
              <a:off x="7301772" y="3330667"/>
              <a:ext cx="226932" cy="204501"/>
              <a:chOff x="-4507" y="4968"/>
              <a:chExt cx="3460" cy="3118"/>
            </a:xfrm>
            <a:grpFill/>
          </p:grpSpPr>
          <p:sp>
            <p:nvSpPr>
              <p:cNvPr id="81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5" name="Group 112"/>
            <p:cNvGrpSpPr>
              <a:grpSpLocks noChangeAspect="1"/>
            </p:cNvGrpSpPr>
            <p:nvPr/>
          </p:nvGrpSpPr>
          <p:grpSpPr bwMode="auto">
            <a:xfrm>
              <a:off x="7524328" y="3187359"/>
              <a:ext cx="385960" cy="347810"/>
              <a:chOff x="-4507" y="4968"/>
              <a:chExt cx="3460" cy="3118"/>
            </a:xfrm>
            <a:grpFill/>
          </p:grpSpPr>
          <p:sp>
            <p:nvSpPr>
              <p:cNvPr id="79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0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6" name="Group 112"/>
            <p:cNvGrpSpPr>
              <a:grpSpLocks noChangeAspect="1"/>
            </p:cNvGrpSpPr>
            <p:nvPr/>
          </p:nvGrpSpPr>
          <p:grpSpPr bwMode="auto">
            <a:xfrm>
              <a:off x="7878034" y="3330667"/>
              <a:ext cx="226932" cy="204501"/>
              <a:chOff x="-4507" y="4968"/>
              <a:chExt cx="3460" cy="3118"/>
            </a:xfrm>
            <a:grpFill/>
          </p:grpSpPr>
          <p:sp>
            <p:nvSpPr>
              <p:cNvPr id="77" name="Freeform 113"/>
              <p:cNvSpPr>
                <a:spLocks/>
              </p:cNvSpPr>
              <p:nvPr/>
            </p:nvSpPr>
            <p:spPr bwMode="auto">
              <a:xfrm>
                <a:off x="-4013" y="5588"/>
                <a:ext cx="2472" cy="2498"/>
              </a:xfrm>
              <a:custGeom>
                <a:avLst/>
                <a:gdLst/>
                <a:ahLst/>
                <a:cxnLst>
                  <a:cxn ang="0">
                    <a:pos x="1236" y="0"/>
                  </a:cxn>
                  <a:cxn ang="0">
                    <a:pos x="2" y="1018"/>
                  </a:cxn>
                  <a:cxn ang="0">
                    <a:pos x="2" y="1018"/>
                  </a:cxn>
                  <a:cxn ang="0">
                    <a:pos x="0" y="1024"/>
                  </a:cxn>
                  <a:cxn ang="0">
                    <a:pos x="0" y="1024"/>
                  </a:cxn>
                  <a:cxn ang="0">
                    <a:pos x="0" y="1032"/>
                  </a:cxn>
                  <a:cxn ang="0">
                    <a:pos x="0" y="1330"/>
                  </a:cxn>
                  <a:cxn ang="0">
                    <a:pos x="0" y="2062"/>
                  </a:cxn>
                  <a:cxn ang="0">
                    <a:pos x="0" y="2360"/>
                  </a:cxn>
                  <a:cxn ang="0">
                    <a:pos x="0" y="2360"/>
                  </a:cxn>
                  <a:cxn ang="0">
                    <a:pos x="0" y="2374"/>
                  </a:cxn>
                  <a:cxn ang="0">
                    <a:pos x="2" y="2388"/>
                  </a:cxn>
                  <a:cxn ang="0">
                    <a:pos x="6" y="2400"/>
                  </a:cxn>
                  <a:cxn ang="0">
                    <a:pos x="10" y="2412"/>
                  </a:cxn>
                  <a:cxn ang="0">
                    <a:pos x="16" y="2424"/>
                  </a:cxn>
                  <a:cxn ang="0">
                    <a:pos x="22" y="2436"/>
                  </a:cxn>
                  <a:cxn ang="0">
                    <a:pos x="30" y="2446"/>
                  </a:cxn>
                  <a:cxn ang="0">
                    <a:pos x="40" y="2458"/>
                  </a:cxn>
                  <a:cxn ang="0">
                    <a:pos x="40" y="2458"/>
                  </a:cxn>
                  <a:cxn ang="0">
                    <a:pos x="50" y="2466"/>
                  </a:cxn>
                  <a:cxn ang="0">
                    <a:pos x="62" y="2474"/>
                  </a:cxn>
                  <a:cxn ang="0">
                    <a:pos x="72" y="2482"/>
                  </a:cxn>
                  <a:cxn ang="0">
                    <a:pos x="84" y="2488"/>
                  </a:cxn>
                  <a:cxn ang="0">
                    <a:pos x="98" y="2492"/>
                  </a:cxn>
                  <a:cxn ang="0">
                    <a:pos x="110" y="2496"/>
                  </a:cxn>
                  <a:cxn ang="0">
                    <a:pos x="124" y="2498"/>
                  </a:cxn>
                  <a:cxn ang="0">
                    <a:pos x="136" y="2498"/>
                  </a:cxn>
                  <a:cxn ang="0">
                    <a:pos x="912" y="2498"/>
                  </a:cxn>
                  <a:cxn ang="0">
                    <a:pos x="912" y="2200"/>
                  </a:cxn>
                  <a:cxn ang="0">
                    <a:pos x="912" y="1658"/>
                  </a:cxn>
                  <a:cxn ang="0">
                    <a:pos x="962" y="1658"/>
                  </a:cxn>
                  <a:cxn ang="0">
                    <a:pos x="1510" y="1658"/>
                  </a:cxn>
                  <a:cxn ang="0">
                    <a:pos x="1556" y="1658"/>
                  </a:cxn>
                  <a:cxn ang="0">
                    <a:pos x="1556" y="2200"/>
                  </a:cxn>
                  <a:cxn ang="0">
                    <a:pos x="1556" y="2498"/>
                  </a:cxn>
                  <a:cxn ang="0">
                    <a:pos x="2336" y="2498"/>
                  </a:cxn>
                  <a:cxn ang="0">
                    <a:pos x="2336" y="2498"/>
                  </a:cxn>
                  <a:cxn ang="0">
                    <a:pos x="2348" y="2498"/>
                  </a:cxn>
                  <a:cxn ang="0">
                    <a:pos x="2362" y="2496"/>
                  </a:cxn>
                  <a:cxn ang="0">
                    <a:pos x="2374" y="2492"/>
                  </a:cxn>
                  <a:cxn ang="0">
                    <a:pos x="2388" y="2488"/>
                  </a:cxn>
                  <a:cxn ang="0">
                    <a:pos x="2400" y="2482"/>
                  </a:cxn>
                  <a:cxn ang="0">
                    <a:pos x="2410" y="2474"/>
                  </a:cxn>
                  <a:cxn ang="0">
                    <a:pos x="2422" y="2466"/>
                  </a:cxn>
                  <a:cxn ang="0">
                    <a:pos x="2432" y="2458"/>
                  </a:cxn>
                  <a:cxn ang="0">
                    <a:pos x="2432" y="2458"/>
                  </a:cxn>
                  <a:cxn ang="0">
                    <a:pos x="2442" y="2446"/>
                  </a:cxn>
                  <a:cxn ang="0">
                    <a:pos x="2450" y="2436"/>
                  </a:cxn>
                  <a:cxn ang="0">
                    <a:pos x="2456" y="2424"/>
                  </a:cxn>
                  <a:cxn ang="0">
                    <a:pos x="2462" y="2412"/>
                  </a:cxn>
                  <a:cxn ang="0">
                    <a:pos x="2466" y="2400"/>
                  </a:cxn>
                  <a:cxn ang="0">
                    <a:pos x="2470" y="2388"/>
                  </a:cxn>
                  <a:cxn ang="0">
                    <a:pos x="2472" y="2374"/>
                  </a:cxn>
                  <a:cxn ang="0">
                    <a:pos x="2472" y="2360"/>
                  </a:cxn>
                  <a:cxn ang="0">
                    <a:pos x="2472" y="2062"/>
                  </a:cxn>
                  <a:cxn ang="0">
                    <a:pos x="2472" y="1330"/>
                  </a:cxn>
                  <a:cxn ang="0">
                    <a:pos x="2472" y="1032"/>
                  </a:cxn>
                  <a:cxn ang="0">
                    <a:pos x="2472" y="1032"/>
                  </a:cxn>
                  <a:cxn ang="0">
                    <a:pos x="2472" y="1024"/>
                  </a:cxn>
                  <a:cxn ang="0">
                    <a:pos x="2470" y="1018"/>
                  </a:cxn>
                  <a:cxn ang="0">
                    <a:pos x="1236" y="0"/>
                  </a:cxn>
                </a:cxnLst>
                <a:rect l="0" t="0" r="r" b="b"/>
                <a:pathLst>
                  <a:path w="2472" h="2498">
                    <a:moveTo>
                      <a:pt x="1236" y="0"/>
                    </a:moveTo>
                    <a:lnTo>
                      <a:pt x="2" y="1018"/>
                    </a:lnTo>
                    <a:lnTo>
                      <a:pt x="2" y="1018"/>
                    </a:lnTo>
                    <a:lnTo>
                      <a:pt x="0" y="1024"/>
                    </a:lnTo>
                    <a:lnTo>
                      <a:pt x="0" y="1024"/>
                    </a:lnTo>
                    <a:lnTo>
                      <a:pt x="0" y="1032"/>
                    </a:lnTo>
                    <a:lnTo>
                      <a:pt x="0" y="1330"/>
                    </a:lnTo>
                    <a:lnTo>
                      <a:pt x="0" y="2062"/>
                    </a:lnTo>
                    <a:lnTo>
                      <a:pt x="0" y="2360"/>
                    </a:lnTo>
                    <a:lnTo>
                      <a:pt x="0" y="2360"/>
                    </a:lnTo>
                    <a:lnTo>
                      <a:pt x="0" y="2374"/>
                    </a:lnTo>
                    <a:lnTo>
                      <a:pt x="2" y="2388"/>
                    </a:lnTo>
                    <a:lnTo>
                      <a:pt x="6" y="2400"/>
                    </a:lnTo>
                    <a:lnTo>
                      <a:pt x="10" y="2412"/>
                    </a:lnTo>
                    <a:lnTo>
                      <a:pt x="16" y="2424"/>
                    </a:lnTo>
                    <a:lnTo>
                      <a:pt x="22" y="2436"/>
                    </a:lnTo>
                    <a:lnTo>
                      <a:pt x="30" y="2446"/>
                    </a:lnTo>
                    <a:lnTo>
                      <a:pt x="40" y="2458"/>
                    </a:lnTo>
                    <a:lnTo>
                      <a:pt x="40" y="2458"/>
                    </a:lnTo>
                    <a:lnTo>
                      <a:pt x="50" y="2466"/>
                    </a:lnTo>
                    <a:lnTo>
                      <a:pt x="62" y="2474"/>
                    </a:lnTo>
                    <a:lnTo>
                      <a:pt x="72" y="2482"/>
                    </a:lnTo>
                    <a:lnTo>
                      <a:pt x="84" y="2488"/>
                    </a:lnTo>
                    <a:lnTo>
                      <a:pt x="98" y="2492"/>
                    </a:lnTo>
                    <a:lnTo>
                      <a:pt x="110" y="2496"/>
                    </a:lnTo>
                    <a:lnTo>
                      <a:pt x="124" y="2498"/>
                    </a:lnTo>
                    <a:lnTo>
                      <a:pt x="136" y="2498"/>
                    </a:lnTo>
                    <a:lnTo>
                      <a:pt x="912" y="2498"/>
                    </a:lnTo>
                    <a:lnTo>
                      <a:pt x="912" y="2200"/>
                    </a:lnTo>
                    <a:lnTo>
                      <a:pt x="912" y="1658"/>
                    </a:lnTo>
                    <a:lnTo>
                      <a:pt x="962" y="1658"/>
                    </a:lnTo>
                    <a:lnTo>
                      <a:pt x="1510" y="1658"/>
                    </a:lnTo>
                    <a:lnTo>
                      <a:pt x="1556" y="1658"/>
                    </a:lnTo>
                    <a:lnTo>
                      <a:pt x="1556" y="2200"/>
                    </a:lnTo>
                    <a:lnTo>
                      <a:pt x="1556" y="2498"/>
                    </a:lnTo>
                    <a:lnTo>
                      <a:pt x="2336" y="2498"/>
                    </a:lnTo>
                    <a:lnTo>
                      <a:pt x="2336" y="2498"/>
                    </a:lnTo>
                    <a:lnTo>
                      <a:pt x="2348" y="2498"/>
                    </a:lnTo>
                    <a:lnTo>
                      <a:pt x="2362" y="2496"/>
                    </a:lnTo>
                    <a:lnTo>
                      <a:pt x="2374" y="2492"/>
                    </a:lnTo>
                    <a:lnTo>
                      <a:pt x="2388" y="2488"/>
                    </a:lnTo>
                    <a:lnTo>
                      <a:pt x="2400" y="2482"/>
                    </a:lnTo>
                    <a:lnTo>
                      <a:pt x="2410" y="2474"/>
                    </a:lnTo>
                    <a:lnTo>
                      <a:pt x="2422" y="2466"/>
                    </a:lnTo>
                    <a:lnTo>
                      <a:pt x="2432" y="2458"/>
                    </a:lnTo>
                    <a:lnTo>
                      <a:pt x="2432" y="2458"/>
                    </a:lnTo>
                    <a:lnTo>
                      <a:pt x="2442" y="2446"/>
                    </a:lnTo>
                    <a:lnTo>
                      <a:pt x="2450" y="2436"/>
                    </a:lnTo>
                    <a:lnTo>
                      <a:pt x="2456" y="2424"/>
                    </a:lnTo>
                    <a:lnTo>
                      <a:pt x="2462" y="2412"/>
                    </a:lnTo>
                    <a:lnTo>
                      <a:pt x="2466" y="2400"/>
                    </a:lnTo>
                    <a:lnTo>
                      <a:pt x="2470" y="2388"/>
                    </a:lnTo>
                    <a:lnTo>
                      <a:pt x="2472" y="2374"/>
                    </a:lnTo>
                    <a:lnTo>
                      <a:pt x="2472" y="2360"/>
                    </a:lnTo>
                    <a:lnTo>
                      <a:pt x="2472" y="2062"/>
                    </a:lnTo>
                    <a:lnTo>
                      <a:pt x="2472" y="1330"/>
                    </a:lnTo>
                    <a:lnTo>
                      <a:pt x="2472" y="1032"/>
                    </a:lnTo>
                    <a:lnTo>
                      <a:pt x="2472" y="1032"/>
                    </a:lnTo>
                    <a:lnTo>
                      <a:pt x="2472" y="1024"/>
                    </a:lnTo>
                    <a:lnTo>
                      <a:pt x="2470" y="1018"/>
                    </a:lnTo>
                    <a:lnTo>
                      <a:pt x="123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 114"/>
              <p:cNvSpPr>
                <a:spLocks/>
              </p:cNvSpPr>
              <p:nvPr/>
            </p:nvSpPr>
            <p:spPr bwMode="auto">
              <a:xfrm>
                <a:off x="-4507" y="4968"/>
                <a:ext cx="3460" cy="1622"/>
              </a:xfrm>
              <a:custGeom>
                <a:avLst/>
                <a:gdLst/>
                <a:ahLst/>
                <a:cxnLst>
                  <a:cxn ang="0">
                    <a:pos x="3460" y="1388"/>
                  </a:cxn>
                  <a:cxn ang="0">
                    <a:pos x="3454" y="1362"/>
                  </a:cxn>
                  <a:cxn ang="0">
                    <a:pos x="3436" y="1342"/>
                  </a:cxn>
                  <a:cxn ang="0">
                    <a:pos x="2966" y="298"/>
                  </a:cxn>
                  <a:cxn ang="0">
                    <a:pos x="2966" y="216"/>
                  </a:cxn>
                  <a:cxn ang="0">
                    <a:pos x="2966" y="202"/>
                  </a:cxn>
                  <a:cxn ang="0">
                    <a:pos x="2956" y="176"/>
                  </a:cxn>
                  <a:cxn ang="0">
                    <a:pos x="2948" y="166"/>
                  </a:cxn>
                  <a:cxn ang="0">
                    <a:pos x="2926" y="152"/>
                  </a:cxn>
                  <a:cxn ang="0">
                    <a:pos x="2898" y="146"/>
                  </a:cxn>
                  <a:cxn ang="0">
                    <a:pos x="2486" y="146"/>
                  </a:cxn>
                  <a:cxn ang="0">
                    <a:pos x="2458" y="152"/>
                  </a:cxn>
                  <a:cxn ang="0">
                    <a:pos x="2436" y="166"/>
                  </a:cxn>
                  <a:cxn ang="0">
                    <a:pos x="2428" y="176"/>
                  </a:cxn>
                  <a:cxn ang="0">
                    <a:pos x="2418" y="202"/>
                  </a:cxn>
                  <a:cxn ang="0">
                    <a:pos x="2416" y="242"/>
                  </a:cxn>
                  <a:cxn ang="0">
                    <a:pos x="2416" y="494"/>
                  </a:cxn>
                  <a:cxn ang="0">
                    <a:pos x="1894" y="56"/>
                  </a:cxn>
                  <a:cxn ang="0">
                    <a:pos x="1858" y="32"/>
                  </a:cxn>
                  <a:cxn ang="0">
                    <a:pos x="1818" y="14"/>
                  </a:cxn>
                  <a:cxn ang="0">
                    <a:pos x="1776" y="4"/>
                  </a:cxn>
                  <a:cxn ang="0">
                    <a:pos x="1730" y="0"/>
                  </a:cxn>
                  <a:cxn ang="0">
                    <a:pos x="1706" y="2"/>
                  </a:cxn>
                  <a:cxn ang="0">
                    <a:pos x="1662" y="8"/>
                  </a:cxn>
                  <a:cxn ang="0">
                    <a:pos x="1622" y="22"/>
                  </a:cxn>
                  <a:cxn ang="0">
                    <a:pos x="1584" y="44"/>
                  </a:cxn>
                  <a:cxn ang="0">
                    <a:pos x="24" y="1342"/>
                  </a:cxn>
                  <a:cxn ang="0">
                    <a:pos x="14" y="1352"/>
                  </a:cxn>
                  <a:cxn ang="0">
                    <a:pos x="2" y="1374"/>
                  </a:cxn>
                  <a:cxn ang="0">
                    <a:pos x="0" y="1388"/>
                  </a:cxn>
                  <a:cxn ang="0">
                    <a:pos x="2" y="1416"/>
                  </a:cxn>
                  <a:cxn ang="0">
                    <a:pos x="14" y="1440"/>
                  </a:cxn>
                  <a:cxn ang="0">
                    <a:pos x="148" y="1598"/>
                  </a:cxn>
                  <a:cxn ang="0">
                    <a:pos x="168" y="1614"/>
                  </a:cxn>
                  <a:cxn ang="0">
                    <a:pos x="192" y="1622"/>
                  </a:cxn>
                  <a:cxn ang="0">
                    <a:pos x="206" y="1622"/>
                  </a:cxn>
                  <a:cxn ang="0">
                    <a:pos x="232" y="1614"/>
                  </a:cxn>
                  <a:cxn ang="0">
                    <a:pos x="1730" y="368"/>
                  </a:cxn>
                  <a:cxn ang="0">
                    <a:pos x="3216" y="1606"/>
                  </a:cxn>
                  <a:cxn ang="0">
                    <a:pos x="3236" y="1618"/>
                  </a:cxn>
                  <a:cxn ang="0">
                    <a:pos x="3260" y="1622"/>
                  </a:cxn>
                  <a:cxn ang="0">
                    <a:pos x="3268" y="1622"/>
                  </a:cxn>
                  <a:cxn ang="0">
                    <a:pos x="3292" y="1614"/>
                  </a:cxn>
                  <a:cxn ang="0">
                    <a:pos x="3312" y="1598"/>
                  </a:cxn>
                  <a:cxn ang="0">
                    <a:pos x="3446" y="1440"/>
                  </a:cxn>
                  <a:cxn ang="0">
                    <a:pos x="3458" y="1416"/>
                  </a:cxn>
                  <a:cxn ang="0">
                    <a:pos x="3460" y="1388"/>
                  </a:cxn>
                </a:cxnLst>
                <a:rect l="0" t="0" r="r" b="b"/>
                <a:pathLst>
                  <a:path w="3460" h="1622">
                    <a:moveTo>
                      <a:pt x="3460" y="1388"/>
                    </a:moveTo>
                    <a:lnTo>
                      <a:pt x="3460" y="1388"/>
                    </a:lnTo>
                    <a:lnTo>
                      <a:pt x="3458" y="1374"/>
                    </a:lnTo>
                    <a:lnTo>
                      <a:pt x="3454" y="1362"/>
                    </a:lnTo>
                    <a:lnTo>
                      <a:pt x="3446" y="1352"/>
                    </a:lnTo>
                    <a:lnTo>
                      <a:pt x="3436" y="1342"/>
                    </a:lnTo>
                    <a:lnTo>
                      <a:pt x="2966" y="952"/>
                    </a:lnTo>
                    <a:lnTo>
                      <a:pt x="2966" y="298"/>
                    </a:lnTo>
                    <a:lnTo>
                      <a:pt x="2966" y="242"/>
                    </a:lnTo>
                    <a:lnTo>
                      <a:pt x="2966" y="216"/>
                    </a:lnTo>
                    <a:lnTo>
                      <a:pt x="2966" y="216"/>
                    </a:lnTo>
                    <a:lnTo>
                      <a:pt x="2966" y="202"/>
                    </a:lnTo>
                    <a:lnTo>
                      <a:pt x="2962" y="188"/>
                    </a:lnTo>
                    <a:lnTo>
                      <a:pt x="2956" y="176"/>
                    </a:lnTo>
                    <a:lnTo>
                      <a:pt x="2948" y="166"/>
                    </a:lnTo>
                    <a:lnTo>
                      <a:pt x="2948" y="166"/>
                    </a:lnTo>
                    <a:lnTo>
                      <a:pt x="2936" y="158"/>
                    </a:lnTo>
                    <a:lnTo>
                      <a:pt x="2926" y="152"/>
                    </a:lnTo>
                    <a:lnTo>
                      <a:pt x="2912" y="148"/>
                    </a:lnTo>
                    <a:lnTo>
                      <a:pt x="2898" y="146"/>
                    </a:lnTo>
                    <a:lnTo>
                      <a:pt x="2486" y="146"/>
                    </a:lnTo>
                    <a:lnTo>
                      <a:pt x="2486" y="146"/>
                    </a:lnTo>
                    <a:lnTo>
                      <a:pt x="2472" y="148"/>
                    </a:lnTo>
                    <a:lnTo>
                      <a:pt x="2458" y="152"/>
                    </a:lnTo>
                    <a:lnTo>
                      <a:pt x="2446" y="158"/>
                    </a:lnTo>
                    <a:lnTo>
                      <a:pt x="2436" y="166"/>
                    </a:lnTo>
                    <a:lnTo>
                      <a:pt x="2436" y="166"/>
                    </a:lnTo>
                    <a:lnTo>
                      <a:pt x="2428" y="176"/>
                    </a:lnTo>
                    <a:lnTo>
                      <a:pt x="2422" y="188"/>
                    </a:lnTo>
                    <a:lnTo>
                      <a:pt x="2418" y="202"/>
                    </a:lnTo>
                    <a:lnTo>
                      <a:pt x="2416" y="216"/>
                    </a:lnTo>
                    <a:lnTo>
                      <a:pt x="2416" y="242"/>
                    </a:lnTo>
                    <a:lnTo>
                      <a:pt x="2416" y="298"/>
                    </a:lnTo>
                    <a:lnTo>
                      <a:pt x="2416" y="494"/>
                    </a:lnTo>
                    <a:lnTo>
                      <a:pt x="1894" y="56"/>
                    </a:lnTo>
                    <a:lnTo>
                      <a:pt x="1894" y="56"/>
                    </a:lnTo>
                    <a:lnTo>
                      <a:pt x="1876" y="44"/>
                    </a:lnTo>
                    <a:lnTo>
                      <a:pt x="1858" y="32"/>
                    </a:lnTo>
                    <a:lnTo>
                      <a:pt x="1838" y="22"/>
                    </a:lnTo>
                    <a:lnTo>
                      <a:pt x="1818" y="14"/>
                    </a:lnTo>
                    <a:lnTo>
                      <a:pt x="1798" y="8"/>
                    </a:lnTo>
                    <a:lnTo>
                      <a:pt x="1776" y="4"/>
                    </a:lnTo>
                    <a:lnTo>
                      <a:pt x="1754" y="2"/>
                    </a:lnTo>
                    <a:lnTo>
                      <a:pt x="1730" y="0"/>
                    </a:lnTo>
                    <a:lnTo>
                      <a:pt x="1730" y="0"/>
                    </a:lnTo>
                    <a:lnTo>
                      <a:pt x="1706" y="2"/>
                    </a:lnTo>
                    <a:lnTo>
                      <a:pt x="1684" y="4"/>
                    </a:lnTo>
                    <a:lnTo>
                      <a:pt x="1662" y="8"/>
                    </a:lnTo>
                    <a:lnTo>
                      <a:pt x="1642" y="14"/>
                    </a:lnTo>
                    <a:lnTo>
                      <a:pt x="1622" y="22"/>
                    </a:lnTo>
                    <a:lnTo>
                      <a:pt x="1602" y="32"/>
                    </a:lnTo>
                    <a:lnTo>
                      <a:pt x="1584" y="44"/>
                    </a:lnTo>
                    <a:lnTo>
                      <a:pt x="1566" y="56"/>
                    </a:lnTo>
                    <a:lnTo>
                      <a:pt x="24" y="1342"/>
                    </a:lnTo>
                    <a:lnTo>
                      <a:pt x="24" y="1342"/>
                    </a:lnTo>
                    <a:lnTo>
                      <a:pt x="14" y="1352"/>
                    </a:lnTo>
                    <a:lnTo>
                      <a:pt x="6" y="1362"/>
                    </a:lnTo>
                    <a:lnTo>
                      <a:pt x="2" y="1374"/>
                    </a:lnTo>
                    <a:lnTo>
                      <a:pt x="0" y="1388"/>
                    </a:lnTo>
                    <a:lnTo>
                      <a:pt x="0" y="1388"/>
                    </a:lnTo>
                    <a:lnTo>
                      <a:pt x="0" y="1402"/>
                    </a:lnTo>
                    <a:lnTo>
                      <a:pt x="2" y="1416"/>
                    </a:lnTo>
                    <a:lnTo>
                      <a:pt x="8" y="1428"/>
                    </a:lnTo>
                    <a:lnTo>
                      <a:pt x="14" y="1440"/>
                    </a:lnTo>
                    <a:lnTo>
                      <a:pt x="148" y="1598"/>
                    </a:lnTo>
                    <a:lnTo>
                      <a:pt x="148" y="1598"/>
                    </a:lnTo>
                    <a:lnTo>
                      <a:pt x="158" y="1606"/>
                    </a:lnTo>
                    <a:lnTo>
                      <a:pt x="168" y="1614"/>
                    </a:lnTo>
                    <a:lnTo>
                      <a:pt x="180" y="1618"/>
                    </a:lnTo>
                    <a:lnTo>
                      <a:pt x="192" y="1622"/>
                    </a:lnTo>
                    <a:lnTo>
                      <a:pt x="192" y="1622"/>
                    </a:lnTo>
                    <a:lnTo>
                      <a:pt x="206" y="1622"/>
                    </a:lnTo>
                    <a:lnTo>
                      <a:pt x="218" y="1620"/>
                    </a:lnTo>
                    <a:lnTo>
                      <a:pt x="232" y="1614"/>
                    </a:lnTo>
                    <a:lnTo>
                      <a:pt x="244" y="1606"/>
                    </a:lnTo>
                    <a:lnTo>
                      <a:pt x="1730" y="368"/>
                    </a:lnTo>
                    <a:lnTo>
                      <a:pt x="3216" y="1606"/>
                    </a:lnTo>
                    <a:lnTo>
                      <a:pt x="3216" y="1606"/>
                    </a:lnTo>
                    <a:lnTo>
                      <a:pt x="3224" y="1614"/>
                    </a:lnTo>
                    <a:lnTo>
                      <a:pt x="3236" y="1618"/>
                    </a:lnTo>
                    <a:lnTo>
                      <a:pt x="3248" y="1620"/>
                    </a:lnTo>
                    <a:lnTo>
                      <a:pt x="3260" y="1622"/>
                    </a:lnTo>
                    <a:lnTo>
                      <a:pt x="3268" y="1622"/>
                    </a:lnTo>
                    <a:lnTo>
                      <a:pt x="3268" y="1622"/>
                    </a:lnTo>
                    <a:lnTo>
                      <a:pt x="3280" y="1618"/>
                    </a:lnTo>
                    <a:lnTo>
                      <a:pt x="3292" y="1614"/>
                    </a:lnTo>
                    <a:lnTo>
                      <a:pt x="3302" y="1606"/>
                    </a:lnTo>
                    <a:lnTo>
                      <a:pt x="3312" y="1598"/>
                    </a:lnTo>
                    <a:lnTo>
                      <a:pt x="3446" y="1440"/>
                    </a:lnTo>
                    <a:lnTo>
                      <a:pt x="3446" y="1440"/>
                    </a:lnTo>
                    <a:lnTo>
                      <a:pt x="3452" y="1428"/>
                    </a:lnTo>
                    <a:lnTo>
                      <a:pt x="3458" y="1416"/>
                    </a:lnTo>
                    <a:lnTo>
                      <a:pt x="3460" y="1402"/>
                    </a:lnTo>
                    <a:lnTo>
                      <a:pt x="3460" y="1388"/>
                    </a:lnTo>
                    <a:lnTo>
                      <a:pt x="3460" y="138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3" name="Groupe 149"/>
          <p:cNvGrpSpPr/>
          <p:nvPr/>
        </p:nvGrpSpPr>
        <p:grpSpPr>
          <a:xfrm>
            <a:off x="2775601" y="2912342"/>
            <a:ext cx="464924" cy="251344"/>
            <a:chOff x="161922" y="3083620"/>
            <a:chExt cx="717118" cy="387683"/>
          </a:xfrm>
        </p:grpSpPr>
        <p:grpSp>
          <p:nvGrpSpPr>
            <p:cNvPr id="84" name="Group 136"/>
            <p:cNvGrpSpPr>
              <a:grpSpLocks noChangeAspect="1"/>
            </p:cNvGrpSpPr>
            <p:nvPr/>
          </p:nvGrpSpPr>
          <p:grpSpPr bwMode="auto">
            <a:xfrm>
              <a:off x="243595" y="3083620"/>
              <a:ext cx="472412" cy="387683"/>
              <a:chOff x="-4918" y="0"/>
              <a:chExt cx="4650" cy="3816"/>
            </a:xfrm>
            <a:solidFill>
              <a:schemeClr val="bg1"/>
            </a:solidFill>
          </p:grpSpPr>
          <p:sp>
            <p:nvSpPr>
              <p:cNvPr id="87" name="Freeform 137"/>
              <p:cNvSpPr>
                <a:spLocks noEditPoints="1"/>
              </p:cNvSpPr>
              <p:nvPr/>
            </p:nvSpPr>
            <p:spPr bwMode="auto">
              <a:xfrm>
                <a:off x="-4402" y="0"/>
                <a:ext cx="3618" cy="2474"/>
              </a:xfrm>
              <a:custGeom>
                <a:avLst/>
                <a:gdLst/>
                <a:ahLst/>
                <a:cxnLst>
                  <a:cxn ang="0">
                    <a:pos x="12" y="2456"/>
                  </a:cxn>
                  <a:cxn ang="0">
                    <a:pos x="14" y="2464"/>
                  </a:cxn>
                  <a:cxn ang="0">
                    <a:pos x="32" y="2474"/>
                  </a:cxn>
                  <a:cxn ang="0">
                    <a:pos x="40" y="2474"/>
                  </a:cxn>
                  <a:cxn ang="0">
                    <a:pos x="50" y="2474"/>
                  </a:cxn>
                  <a:cxn ang="0">
                    <a:pos x="3570" y="2474"/>
                  </a:cxn>
                  <a:cxn ang="0">
                    <a:pos x="3578" y="2474"/>
                  </a:cxn>
                  <a:cxn ang="0">
                    <a:pos x="3588" y="2474"/>
                  </a:cxn>
                  <a:cxn ang="0">
                    <a:pos x="3602" y="2464"/>
                  </a:cxn>
                  <a:cxn ang="0">
                    <a:pos x="3610" y="2456"/>
                  </a:cxn>
                  <a:cxn ang="0">
                    <a:pos x="3618" y="2450"/>
                  </a:cxn>
                  <a:cxn ang="0">
                    <a:pos x="3618" y="2442"/>
                  </a:cxn>
                  <a:cxn ang="0">
                    <a:pos x="3618" y="2436"/>
                  </a:cxn>
                  <a:cxn ang="0">
                    <a:pos x="3618" y="42"/>
                  </a:cxn>
                  <a:cxn ang="0">
                    <a:pos x="3618" y="32"/>
                  </a:cxn>
                  <a:cxn ang="0">
                    <a:pos x="3618" y="24"/>
                  </a:cxn>
                  <a:cxn ang="0">
                    <a:pos x="3610" y="18"/>
                  </a:cxn>
                  <a:cxn ang="0">
                    <a:pos x="3602" y="10"/>
                  </a:cxn>
                  <a:cxn ang="0">
                    <a:pos x="3588" y="2"/>
                  </a:cxn>
                  <a:cxn ang="0">
                    <a:pos x="3578" y="0"/>
                  </a:cxn>
                  <a:cxn ang="0">
                    <a:pos x="357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2"/>
                  </a:cxn>
                  <a:cxn ang="0">
                    <a:pos x="14" y="10"/>
                  </a:cxn>
                  <a:cxn ang="0">
                    <a:pos x="12" y="18"/>
                  </a:cxn>
                  <a:cxn ang="0">
                    <a:pos x="4" y="24"/>
                  </a:cxn>
                  <a:cxn ang="0">
                    <a:pos x="0" y="32"/>
                  </a:cxn>
                  <a:cxn ang="0">
                    <a:pos x="0" y="42"/>
                  </a:cxn>
                  <a:cxn ang="0">
                    <a:pos x="0" y="2436"/>
                  </a:cxn>
                  <a:cxn ang="0">
                    <a:pos x="0" y="2442"/>
                  </a:cxn>
                  <a:cxn ang="0">
                    <a:pos x="4" y="2450"/>
                  </a:cxn>
                  <a:cxn ang="0">
                    <a:pos x="12" y="2456"/>
                  </a:cxn>
                  <a:cxn ang="0">
                    <a:pos x="186" y="2240"/>
                  </a:cxn>
                  <a:cxn ang="0">
                    <a:pos x="186" y="234"/>
                  </a:cxn>
                  <a:cxn ang="0">
                    <a:pos x="186" y="226"/>
                  </a:cxn>
                  <a:cxn ang="0">
                    <a:pos x="188" y="218"/>
                  </a:cxn>
                  <a:cxn ang="0">
                    <a:pos x="200" y="208"/>
                  </a:cxn>
                  <a:cxn ang="0">
                    <a:pos x="214" y="204"/>
                  </a:cxn>
                  <a:cxn ang="0">
                    <a:pos x="232" y="200"/>
                  </a:cxn>
                  <a:cxn ang="0">
                    <a:pos x="3376" y="200"/>
                  </a:cxn>
                  <a:cxn ang="0">
                    <a:pos x="3394" y="204"/>
                  </a:cxn>
                  <a:cxn ang="0">
                    <a:pos x="3408" y="208"/>
                  </a:cxn>
                  <a:cxn ang="0">
                    <a:pos x="3414" y="218"/>
                  </a:cxn>
                  <a:cxn ang="0">
                    <a:pos x="3418" y="226"/>
                  </a:cxn>
                  <a:cxn ang="0">
                    <a:pos x="3418" y="234"/>
                  </a:cxn>
                  <a:cxn ang="0">
                    <a:pos x="3418" y="2240"/>
                  </a:cxn>
                  <a:cxn ang="0">
                    <a:pos x="3418" y="2248"/>
                  </a:cxn>
                  <a:cxn ang="0">
                    <a:pos x="3414" y="2256"/>
                  </a:cxn>
                  <a:cxn ang="0">
                    <a:pos x="3408" y="2266"/>
                  </a:cxn>
                  <a:cxn ang="0">
                    <a:pos x="3394" y="2274"/>
                  </a:cxn>
                  <a:cxn ang="0">
                    <a:pos x="3376" y="2274"/>
                  </a:cxn>
                  <a:cxn ang="0">
                    <a:pos x="232" y="2274"/>
                  </a:cxn>
                  <a:cxn ang="0">
                    <a:pos x="214" y="2274"/>
                  </a:cxn>
                  <a:cxn ang="0">
                    <a:pos x="200" y="2266"/>
                  </a:cxn>
                  <a:cxn ang="0">
                    <a:pos x="188" y="2256"/>
                  </a:cxn>
                  <a:cxn ang="0">
                    <a:pos x="186" y="2248"/>
                  </a:cxn>
                  <a:cxn ang="0">
                    <a:pos x="186" y="2240"/>
                  </a:cxn>
                </a:cxnLst>
                <a:rect l="0" t="0" r="r" b="b"/>
                <a:pathLst>
                  <a:path w="3618" h="2474">
                    <a:moveTo>
                      <a:pt x="12" y="2456"/>
                    </a:moveTo>
                    <a:lnTo>
                      <a:pt x="14" y="2464"/>
                    </a:lnTo>
                    <a:lnTo>
                      <a:pt x="32" y="2474"/>
                    </a:lnTo>
                    <a:lnTo>
                      <a:pt x="40" y="2474"/>
                    </a:lnTo>
                    <a:lnTo>
                      <a:pt x="50" y="2474"/>
                    </a:lnTo>
                    <a:lnTo>
                      <a:pt x="3570" y="2474"/>
                    </a:lnTo>
                    <a:lnTo>
                      <a:pt x="3578" y="2474"/>
                    </a:lnTo>
                    <a:lnTo>
                      <a:pt x="3588" y="2474"/>
                    </a:lnTo>
                    <a:lnTo>
                      <a:pt x="3602" y="2464"/>
                    </a:lnTo>
                    <a:lnTo>
                      <a:pt x="3610" y="2456"/>
                    </a:lnTo>
                    <a:lnTo>
                      <a:pt x="3618" y="2450"/>
                    </a:lnTo>
                    <a:lnTo>
                      <a:pt x="3618" y="2442"/>
                    </a:lnTo>
                    <a:lnTo>
                      <a:pt x="3618" y="2436"/>
                    </a:lnTo>
                    <a:lnTo>
                      <a:pt x="3618" y="42"/>
                    </a:lnTo>
                    <a:lnTo>
                      <a:pt x="3618" y="32"/>
                    </a:lnTo>
                    <a:lnTo>
                      <a:pt x="3618" y="24"/>
                    </a:lnTo>
                    <a:lnTo>
                      <a:pt x="3610" y="18"/>
                    </a:lnTo>
                    <a:lnTo>
                      <a:pt x="3602" y="10"/>
                    </a:lnTo>
                    <a:lnTo>
                      <a:pt x="3588" y="2"/>
                    </a:lnTo>
                    <a:lnTo>
                      <a:pt x="3578" y="0"/>
                    </a:lnTo>
                    <a:lnTo>
                      <a:pt x="357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14" y="10"/>
                    </a:lnTo>
                    <a:lnTo>
                      <a:pt x="12" y="18"/>
                    </a:lnTo>
                    <a:lnTo>
                      <a:pt x="4" y="24"/>
                    </a:lnTo>
                    <a:lnTo>
                      <a:pt x="0" y="32"/>
                    </a:lnTo>
                    <a:lnTo>
                      <a:pt x="0" y="42"/>
                    </a:lnTo>
                    <a:lnTo>
                      <a:pt x="0" y="2436"/>
                    </a:lnTo>
                    <a:lnTo>
                      <a:pt x="0" y="2442"/>
                    </a:lnTo>
                    <a:lnTo>
                      <a:pt x="4" y="2450"/>
                    </a:lnTo>
                    <a:lnTo>
                      <a:pt x="12" y="2456"/>
                    </a:lnTo>
                    <a:close/>
                    <a:moveTo>
                      <a:pt x="186" y="2240"/>
                    </a:moveTo>
                    <a:lnTo>
                      <a:pt x="186" y="234"/>
                    </a:lnTo>
                    <a:lnTo>
                      <a:pt x="186" y="226"/>
                    </a:lnTo>
                    <a:lnTo>
                      <a:pt x="188" y="218"/>
                    </a:lnTo>
                    <a:lnTo>
                      <a:pt x="200" y="208"/>
                    </a:lnTo>
                    <a:lnTo>
                      <a:pt x="214" y="204"/>
                    </a:lnTo>
                    <a:lnTo>
                      <a:pt x="232" y="200"/>
                    </a:lnTo>
                    <a:lnTo>
                      <a:pt x="3376" y="200"/>
                    </a:lnTo>
                    <a:lnTo>
                      <a:pt x="3394" y="204"/>
                    </a:lnTo>
                    <a:lnTo>
                      <a:pt x="3408" y="208"/>
                    </a:lnTo>
                    <a:lnTo>
                      <a:pt x="3414" y="218"/>
                    </a:lnTo>
                    <a:lnTo>
                      <a:pt x="3418" y="226"/>
                    </a:lnTo>
                    <a:lnTo>
                      <a:pt x="3418" y="234"/>
                    </a:lnTo>
                    <a:lnTo>
                      <a:pt x="3418" y="2240"/>
                    </a:lnTo>
                    <a:lnTo>
                      <a:pt x="3418" y="2248"/>
                    </a:lnTo>
                    <a:lnTo>
                      <a:pt x="3414" y="2256"/>
                    </a:lnTo>
                    <a:lnTo>
                      <a:pt x="3408" y="2266"/>
                    </a:lnTo>
                    <a:lnTo>
                      <a:pt x="3394" y="2274"/>
                    </a:lnTo>
                    <a:lnTo>
                      <a:pt x="3376" y="2274"/>
                    </a:lnTo>
                    <a:lnTo>
                      <a:pt x="232" y="2274"/>
                    </a:lnTo>
                    <a:lnTo>
                      <a:pt x="214" y="2274"/>
                    </a:lnTo>
                    <a:lnTo>
                      <a:pt x="200" y="2266"/>
                    </a:lnTo>
                    <a:lnTo>
                      <a:pt x="188" y="2256"/>
                    </a:lnTo>
                    <a:lnTo>
                      <a:pt x="186" y="2248"/>
                    </a:lnTo>
                    <a:lnTo>
                      <a:pt x="186" y="2240"/>
                    </a:lnTo>
                    <a:close/>
                  </a:path>
                </a:pathLst>
              </a:custGeom>
              <a:grpFill/>
              <a:ln w="95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 138"/>
              <p:cNvSpPr>
                <a:spLocks noEditPoints="1"/>
              </p:cNvSpPr>
              <p:nvPr/>
            </p:nvSpPr>
            <p:spPr bwMode="auto">
              <a:xfrm>
                <a:off x="-4918" y="2618"/>
                <a:ext cx="4650" cy="1198"/>
              </a:xfrm>
              <a:custGeom>
                <a:avLst/>
                <a:gdLst/>
                <a:ahLst/>
                <a:cxnLst>
                  <a:cxn ang="0">
                    <a:pos x="4196" y="0"/>
                  </a:cxn>
                  <a:cxn ang="0">
                    <a:pos x="450" y="0"/>
                  </a:cxn>
                  <a:cxn ang="0">
                    <a:pos x="0" y="992"/>
                  </a:cxn>
                  <a:cxn ang="0">
                    <a:pos x="64" y="1198"/>
                  </a:cxn>
                  <a:cxn ang="0">
                    <a:pos x="4584" y="1194"/>
                  </a:cxn>
                  <a:cxn ang="0">
                    <a:pos x="4650" y="992"/>
                  </a:cxn>
                  <a:cxn ang="0">
                    <a:pos x="4196" y="0"/>
                  </a:cxn>
                  <a:cxn ang="0">
                    <a:pos x="1872" y="662"/>
                  </a:cxn>
                  <a:cxn ang="0">
                    <a:pos x="1992" y="288"/>
                  </a:cxn>
                  <a:cxn ang="0">
                    <a:pos x="2656" y="288"/>
                  </a:cxn>
                  <a:cxn ang="0">
                    <a:pos x="2782" y="662"/>
                  </a:cxn>
                  <a:cxn ang="0">
                    <a:pos x="1872" y="662"/>
                  </a:cxn>
                </a:cxnLst>
                <a:rect l="0" t="0" r="r" b="b"/>
                <a:pathLst>
                  <a:path w="4650" h="1198">
                    <a:moveTo>
                      <a:pt x="4196" y="0"/>
                    </a:moveTo>
                    <a:lnTo>
                      <a:pt x="450" y="0"/>
                    </a:lnTo>
                    <a:lnTo>
                      <a:pt x="0" y="992"/>
                    </a:lnTo>
                    <a:lnTo>
                      <a:pt x="64" y="1198"/>
                    </a:lnTo>
                    <a:lnTo>
                      <a:pt x="4584" y="1194"/>
                    </a:lnTo>
                    <a:lnTo>
                      <a:pt x="4650" y="992"/>
                    </a:lnTo>
                    <a:lnTo>
                      <a:pt x="4196" y="0"/>
                    </a:lnTo>
                    <a:close/>
                    <a:moveTo>
                      <a:pt x="1872" y="662"/>
                    </a:moveTo>
                    <a:lnTo>
                      <a:pt x="1992" y="288"/>
                    </a:lnTo>
                    <a:lnTo>
                      <a:pt x="2656" y="288"/>
                    </a:lnTo>
                    <a:lnTo>
                      <a:pt x="2782" y="662"/>
                    </a:lnTo>
                    <a:lnTo>
                      <a:pt x="1872" y="662"/>
                    </a:lnTo>
                    <a:close/>
                  </a:path>
                </a:pathLst>
              </a:custGeom>
              <a:grpFill/>
              <a:ln w="95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5" name="Freeform 204"/>
            <p:cNvSpPr>
              <a:spLocks noChangeAspect="1" noEditPoints="1"/>
            </p:cNvSpPr>
            <p:nvPr/>
          </p:nvSpPr>
          <p:spPr bwMode="auto">
            <a:xfrm>
              <a:off x="161922" y="3174495"/>
              <a:ext cx="108150" cy="184108"/>
            </a:xfrm>
            <a:custGeom>
              <a:avLst/>
              <a:gdLst/>
              <a:ahLst/>
              <a:cxnLst>
                <a:cxn ang="0">
                  <a:pos x="206" y="2"/>
                </a:cxn>
                <a:cxn ang="0">
                  <a:pos x="120" y="32"/>
                </a:cxn>
                <a:cxn ang="0">
                  <a:pos x="52" y="98"/>
                </a:cxn>
                <a:cxn ang="0">
                  <a:pos x="10" y="190"/>
                </a:cxn>
                <a:cxn ang="0">
                  <a:pos x="0" y="3356"/>
                </a:cxn>
                <a:cxn ang="0">
                  <a:pos x="10" y="3436"/>
                </a:cxn>
                <a:cxn ang="0">
                  <a:pos x="52" y="3528"/>
                </a:cxn>
                <a:cxn ang="0">
                  <a:pos x="120" y="3594"/>
                </a:cxn>
                <a:cxn ang="0">
                  <a:pos x="206" y="3626"/>
                </a:cxn>
                <a:cxn ang="0">
                  <a:pos x="1924" y="3626"/>
                </a:cxn>
                <a:cxn ang="0">
                  <a:pos x="2010" y="3594"/>
                </a:cxn>
                <a:cxn ang="0">
                  <a:pos x="2078" y="3528"/>
                </a:cxn>
                <a:cxn ang="0">
                  <a:pos x="2120" y="3436"/>
                </a:cxn>
                <a:cxn ang="0">
                  <a:pos x="2130" y="270"/>
                </a:cxn>
                <a:cxn ang="0">
                  <a:pos x="2120" y="190"/>
                </a:cxn>
                <a:cxn ang="0">
                  <a:pos x="2078" y="98"/>
                </a:cxn>
                <a:cxn ang="0">
                  <a:pos x="2010" y="32"/>
                </a:cxn>
                <a:cxn ang="0">
                  <a:pos x="1924" y="2"/>
                </a:cxn>
                <a:cxn ang="0">
                  <a:pos x="314" y="2802"/>
                </a:cxn>
                <a:cxn ang="0">
                  <a:pos x="240" y="2772"/>
                </a:cxn>
                <a:cxn ang="0">
                  <a:pos x="206" y="2698"/>
                </a:cxn>
                <a:cxn ang="0">
                  <a:pos x="206" y="556"/>
                </a:cxn>
                <a:cxn ang="0">
                  <a:pos x="216" y="512"/>
                </a:cxn>
                <a:cxn ang="0">
                  <a:pos x="274" y="456"/>
                </a:cxn>
                <a:cxn ang="0">
                  <a:pos x="316" y="448"/>
                </a:cxn>
                <a:cxn ang="0">
                  <a:pos x="1816" y="448"/>
                </a:cxn>
                <a:cxn ang="0">
                  <a:pos x="1892" y="480"/>
                </a:cxn>
                <a:cxn ang="0">
                  <a:pos x="1926" y="556"/>
                </a:cxn>
                <a:cxn ang="0">
                  <a:pos x="1916" y="2736"/>
                </a:cxn>
                <a:cxn ang="0">
                  <a:pos x="1858" y="2794"/>
                </a:cxn>
                <a:cxn ang="0">
                  <a:pos x="688" y="128"/>
                </a:cxn>
                <a:cxn ang="0">
                  <a:pos x="1474" y="136"/>
                </a:cxn>
                <a:cxn ang="0">
                  <a:pos x="1518" y="178"/>
                </a:cxn>
                <a:cxn ang="0">
                  <a:pos x="1524" y="226"/>
                </a:cxn>
                <a:cxn ang="0">
                  <a:pos x="1488" y="278"/>
                </a:cxn>
                <a:cxn ang="0">
                  <a:pos x="688" y="292"/>
                </a:cxn>
                <a:cxn ang="0">
                  <a:pos x="642" y="278"/>
                </a:cxn>
                <a:cxn ang="0">
                  <a:pos x="608" y="226"/>
                </a:cxn>
                <a:cxn ang="0">
                  <a:pos x="612" y="178"/>
                </a:cxn>
                <a:cxn ang="0">
                  <a:pos x="656" y="136"/>
                </a:cxn>
                <a:cxn ang="0">
                  <a:pos x="1240" y="3212"/>
                </a:cxn>
                <a:cxn ang="0">
                  <a:pos x="1218" y="3274"/>
                </a:cxn>
                <a:cxn ang="0">
                  <a:pos x="1176" y="3326"/>
                </a:cxn>
                <a:cxn ang="0">
                  <a:pos x="1118" y="3356"/>
                </a:cxn>
                <a:cxn ang="0">
                  <a:pos x="1048" y="3364"/>
                </a:cxn>
                <a:cxn ang="0">
                  <a:pos x="982" y="3344"/>
                </a:cxn>
                <a:cxn ang="0">
                  <a:pos x="932" y="3302"/>
                </a:cxn>
                <a:cxn ang="0">
                  <a:pos x="898" y="3246"/>
                </a:cxn>
                <a:cxn ang="0">
                  <a:pos x="892" y="3176"/>
                </a:cxn>
                <a:cxn ang="0">
                  <a:pos x="912" y="3114"/>
                </a:cxn>
                <a:cxn ang="0">
                  <a:pos x="954" y="3064"/>
                </a:cxn>
                <a:cxn ang="0">
                  <a:pos x="1014" y="3032"/>
                </a:cxn>
                <a:cxn ang="0">
                  <a:pos x="1082" y="3026"/>
                </a:cxn>
                <a:cxn ang="0">
                  <a:pos x="1150" y="3046"/>
                </a:cxn>
                <a:cxn ang="0">
                  <a:pos x="1200" y="3086"/>
                </a:cxn>
                <a:cxn ang="0">
                  <a:pos x="1232" y="3144"/>
                </a:cxn>
                <a:cxn ang="0">
                  <a:pos x="1240" y="3212"/>
                </a:cxn>
              </a:cxnLst>
              <a:rect l="0" t="0" r="r" b="b"/>
              <a:pathLst>
                <a:path w="2130" h="3626">
                  <a:moveTo>
                    <a:pt x="1900" y="0"/>
                  </a:moveTo>
                  <a:lnTo>
                    <a:pt x="230" y="0"/>
                  </a:lnTo>
                  <a:lnTo>
                    <a:pt x="230" y="0"/>
                  </a:lnTo>
                  <a:lnTo>
                    <a:pt x="206" y="2"/>
                  </a:lnTo>
                  <a:lnTo>
                    <a:pt x="184" y="6"/>
                  </a:lnTo>
                  <a:lnTo>
                    <a:pt x="162" y="12"/>
                  </a:lnTo>
                  <a:lnTo>
                    <a:pt x="140" y="20"/>
                  </a:lnTo>
                  <a:lnTo>
                    <a:pt x="120" y="32"/>
                  </a:lnTo>
                  <a:lnTo>
                    <a:pt x="102" y="46"/>
                  </a:lnTo>
                  <a:lnTo>
                    <a:pt x="84" y="62"/>
                  </a:lnTo>
                  <a:lnTo>
                    <a:pt x="68" y="78"/>
                  </a:lnTo>
                  <a:lnTo>
                    <a:pt x="52" y="98"/>
                  </a:lnTo>
                  <a:lnTo>
                    <a:pt x="40" y="118"/>
                  </a:lnTo>
                  <a:lnTo>
                    <a:pt x="28" y="142"/>
                  </a:lnTo>
                  <a:lnTo>
                    <a:pt x="18" y="164"/>
                  </a:lnTo>
                  <a:lnTo>
                    <a:pt x="10" y="190"/>
                  </a:lnTo>
                  <a:lnTo>
                    <a:pt x="4" y="216"/>
                  </a:lnTo>
                  <a:lnTo>
                    <a:pt x="2" y="242"/>
                  </a:lnTo>
                  <a:lnTo>
                    <a:pt x="0" y="270"/>
                  </a:lnTo>
                  <a:lnTo>
                    <a:pt x="0" y="3356"/>
                  </a:lnTo>
                  <a:lnTo>
                    <a:pt x="0" y="3356"/>
                  </a:lnTo>
                  <a:lnTo>
                    <a:pt x="2" y="3384"/>
                  </a:lnTo>
                  <a:lnTo>
                    <a:pt x="4" y="3410"/>
                  </a:lnTo>
                  <a:lnTo>
                    <a:pt x="10" y="3436"/>
                  </a:lnTo>
                  <a:lnTo>
                    <a:pt x="18" y="3462"/>
                  </a:lnTo>
                  <a:lnTo>
                    <a:pt x="28" y="3486"/>
                  </a:lnTo>
                  <a:lnTo>
                    <a:pt x="40" y="3508"/>
                  </a:lnTo>
                  <a:lnTo>
                    <a:pt x="52" y="3528"/>
                  </a:lnTo>
                  <a:lnTo>
                    <a:pt x="68" y="3548"/>
                  </a:lnTo>
                  <a:lnTo>
                    <a:pt x="84" y="3564"/>
                  </a:lnTo>
                  <a:lnTo>
                    <a:pt x="102" y="3580"/>
                  </a:lnTo>
                  <a:lnTo>
                    <a:pt x="120" y="3594"/>
                  </a:lnTo>
                  <a:lnTo>
                    <a:pt x="140" y="3606"/>
                  </a:lnTo>
                  <a:lnTo>
                    <a:pt x="162" y="3614"/>
                  </a:lnTo>
                  <a:lnTo>
                    <a:pt x="184" y="3622"/>
                  </a:lnTo>
                  <a:lnTo>
                    <a:pt x="206" y="3626"/>
                  </a:lnTo>
                  <a:lnTo>
                    <a:pt x="230" y="3626"/>
                  </a:lnTo>
                  <a:lnTo>
                    <a:pt x="1900" y="3626"/>
                  </a:lnTo>
                  <a:lnTo>
                    <a:pt x="1900" y="3626"/>
                  </a:lnTo>
                  <a:lnTo>
                    <a:pt x="1924" y="3626"/>
                  </a:lnTo>
                  <a:lnTo>
                    <a:pt x="1948" y="3622"/>
                  </a:lnTo>
                  <a:lnTo>
                    <a:pt x="1970" y="3614"/>
                  </a:lnTo>
                  <a:lnTo>
                    <a:pt x="1990" y="3606"/>
                  </a:lnTo>
                  <a:lnTo>
                    <a:pt x="2010" y="3594"/>
                  </a:lnTo>
                  <a:lnTo>
                    <a:pt x="2030" y="3580"/>
                  </a:lnTo>
                  <a:lnTo>
                    <a:pt x="2048" y="3564"/>
                  </a:lnTo>
                  <a:lnTo>
                    <a:pt x="2064" y="3548"/>
                  </a:lnTo>
                  <a:lnTo>
                    <a:pt x="2078" y="3528"/>
                  </a:lnTo>
                  <a:lnTo>
                    <a:pt x="2092" y="3508"/>
                  </a:lnTo>
                  <a:lnTo>
                    <a:pt x="2104" y="3486"/>
                  </a:lnTo>
                  <a:lnTo>
                    <a:pt x="2112" y="3462"/>
                  </a:lnTo>
                  <a:lnTo>
                    <a:pt x="2120" y="3436"/>
                  </a:lnTo>
                  <a:lnTo>
                    <a:pt x="2126" y="3410"/>
                  </a:lnTo>
                  <a:lnTo>
                    <a:pt x="2130" y="3384"/>
                  </a:lnTo>
                  <a:lnTo>
                    <a:pt x="2130" y="3356"/>
                  </a:lnTo>
                  <a:lnTo>
                    <a:pt x="2130" y="270"/>
                  </a:lnTo>
                  <a:lnTo>
                    <a:pt x="2130" y="270"/>
                  </a:lnTo>
                  <a:lnTo>
                    <a:pt x="2130" y="242"/>
                  </a:lnTo>
                  <a:lnTo>
                    <a:pt x="2126" y="216"/>
                  </a:lnTo>
                  <a:lnTo>
                    <a:pt x="2120" y="190"/>
                  </a:lnTo>
                  <a:lnTo>
                    <a:pt x="2112" y="164"/>
                  </a:lnTo>
                  <a:lnTo>
                    <a:pt x="2104" y="142"/>
                  </a:lnTo>
                  <a:lnTo>
                    <a:pt x="2092" y="118"/>
                  </a:lnTo>
                  <a:lnTo>
                    <a:pt x="2078" y="98"/>
                  </a:lnTo>
                  <a:lnTo>
                    <a:pt x="2064" y="78"/>
                  </a:lnTo>
                  <a:lnTo>
                    <a:pt x="2048" y="62"/>
                  </a:lnTo>
                  <a:lnTo>
                    <a:pt x="2030" y="46"/>
                  </a:lnTo>
                  <a:lnTo>
                    <a:pt x="2010" y="32"/>
                  </a:lnTo>
                  <a:lnTo>
                    <a:pt x="1990" y="20"/>
                  </a:lnTo>
                  <a:lnTo>
                    <a:pt x="1970" y="12"/>
                  </a:lnTo>
                  <a:lnTo>
                    <a:pt x="1948" y="6"/>
                  </a:lnTo>
                  <a:lnTo>
                    <a:pt x="1924" y="2"/>
                  </a:lnTo>
                  <a:lnTo>
                    <a:pt x="1900" y="0"/>
                  </a:lnTo>
                  <a:lnTo>
                    <a:pt x="1900" y="0"/>
                  </a:lnTo>
                  <a:close/>
                  <a:moveTo>
                    <a:pt x="314" y="2802"/>
                  </a:moveTo>
                  <a:lnTo>
                    <a:pt x="314" y="2802"/>
                  </a:lnTo>
                  <a:lnTo>
                    <a:pt x="294" y="2800"/>
                  </a:lnTo>
                  <a:lnTo>
                    <a:pt x="274" y="2794"/>
                  </a:lnTo>
                  <a:lnTo>
                    <a:pt x="256" y="2784"/>
                  </a:lnTo>
                  <a:lnTo>
                    <a:pt x="240" y="2772"/>
                  </a:lnTo>
                  <a:lnTo>
                    <a:pt x="226" y="2756"/>
                  </a:lnTo>
                  <a:lnTo>
                    <a:pt x="216" y="2738"/>
                  </a:lnTo>
                  <a:lnTo>
                    <a:pt x="210" y="2718"/>
                  </a:lnTo>
                  <a:lnTo>
                    <a:pt x="206" y="2698"/>
                  </a:lnTo>
                  <a:lnTo>
                    <a:pt x="206" y="2698"/>
                  </a:lnTo>
                  <a:lnTo>
                    <a:pt x="206" y="2694"/>
                  </a:lnTo>
                  <a:lnTo>
                    <a:pt x="206" y="556"/>
                  </a:lnTo>
                  <a:lnTo>
                    <a:pt x="206" y="556"/>
                  </a:lnTo>
                  <a:lnTo>
                    <a:pt x="206" y="554"/>
                  </a:lnTo>
                  <a:lnTo>
                    <a:pt x="206" y="554"/>
                  </a:lnTo>
                  <a:lnTo>
                    <a:pt x="210" y="532"/>
                  </a:lnTo>
                  <a:lnTo>
                    <a:pt x="216" y="512"/>
                  </a:lnTo>
                  <a:lnTo>
                    <a:pt x="226" y="494"/>
                  </a:lnTo>
                  <a:lnTo>
                    <a:pt x="240" y="478"/>
                  </a:lnTo>
                  <a:lnTo>
                    <a:pt x="256" y="466"/>
                  </a:lnTo>
                  <a:lnTo>
                    <a:pt x="274" y="456"/>
                  </a:lnTo>
                  <a:lnTo>
                    <a:pt x="294" y="450"/>
                  </a:lnTo>
                  <a:lnTo>
                    <a:pt x="316" y="448"/>
                  </a:lnTo>
                  <a:lnTo>
                    <a:pt x="316" y="448"/>
                  </a:lnTo>
                  <a:lnTo>
                    <a:pt x="3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16" y="448"/>
                  </a:lnTo>
                  <a:lnTo>
                    <a:pt x="1838" y="450"/>
                  </a:lnTo>
                  <a:lnTo>
                    <a:pt x="1858" y="456"/>
                  </a:lnTo>
                  <a:lnTo>
                    <a:pt x="1876" y="466"/>
                  </a:lnTo>
                  <a:lnTo>
                    <a:pt x="1892" y="480"/>
                  </a:lnTo>
                  <a:lnTo>
                    <a:pt x="1906" y="496"/>
                  </a:lnTo>
                  <a:lnTo>
                    <a:pt x="1916" y="514"/>
                  </a:lnTo>
                  <a:lnTo>
                    <a:pt x="1922" y="534"/>
                  </a:lnTo>
                  <a:lnTo>
                    <a:pt x="1926" y="556"/>
                  </a:lnTo>
                  <a:lnTo>
                    <a:pt x="1926" y="2694"/>
                  </a:lnTo>
                  <a:lnTo>
                    <a:pt x="1926" y="2694"/>
                  </a:lnTo>
                  <a:lnTo>
                    <a:pt x="1922" y="2716"/>
                  </a:lnTo>
                  <a:lnTo>
                    <a:pt x="1916" y="2736"/>
                  </a:lnTo>
                  <a:lnTo>
                    <a:pt x="1906" y="2754"/>
                  </a:lnTo>
                  <a:lnTo>
                    <a:pt x="1894" y="2770"/>
                  </a:lnTo>
                  <a:lnTo>
                    <a:pt x="1878" y="2784"/>
                  </a:lnTo>
                  <a:lnTo>
                    <a:pt x="1858" y="2794"/>
                  </a:lnTo>
                  <a:lnTo>
                    <a:pt x="1838" y="2800"/>
                  </a:lnTo>
                  <a:lnTo>
                    <a:pt x="1816" y="2802"/>
                  </a:lnTo>
                  <a:lnTo>
                    <a:pt x="314" y="2802"/>
                  </a:lnTo>
                  <a:close/>
                  <a:moveTo>
                    <a:pt x="688" y="128"/>
                  </a:moveTo>
                  <a:lnTo>
                    <a:pt x="1444" y="128"/>
                  </a:lnTo>
                  <a:lnTo>
                    <a:pt x="1444" y="128"/>
                  </a:lnTo>
                  <a:lnTo>
                    <a:pt x="1460" y="130"/>
                  </a:lnTo>
                  <a:lnTo>
                    <a:pt x="1474" y="136"/>
                  </a:lnTo>
                  <a:lnTo>
                    <a:pt x="1488" y="142"/>
                  </a:lnTo>
                  <a:lnTo>
                    <a:pt x="1500" y="152"/>
                  </a:lnTo>
                  <a:lnTo>
                    <a:pt x="1510" y="164"/>
                  </a:lnTo>
                  <a:lnTo>
                    <a:pt x="1518" y="178"/>
                  </a:lnTo>
                  <a:lnTo>
                    <a:pt x="1524" y="194"/>
                  </a:lnTo>
                  <a:lnTo>
                    <a:pt x="1524" y="210"/>
                  </a:lnTo>
                  <a:lnTo>
                    <a:pt x="1524" y="210"/>
                  </a:lnTo>
                  <a:lnTo>
                    <a:pt x="1524" y="226"/>
                  </a:lnTo>
                  <a:lnTo>
                    <a:pt x="1518" y="242"/>
                  </a:lnTo>
                  <a:lnTo>
                    <a:pt x="1510" y="256"/>
                  </a:lnTo>
                  <a:lnTo>
                    <a:pt x="1500" y="268"/>
                  </a:lnTo>
                  <a:lnTo>
                    <a:pt x="1488" y="278"/>
                  </a:lnTo>
                  <a:lnTo>
                    <a:pt x="1474" y="286"/>
                  </a:lnTo>
                  <a:lnTo>
                    <a:pt x="1460" y="290"/>
                  </a:lnTo>
                  <a:lnTo>
                    <a:pt x="1444" y="292"/>
                  </a:lnTo>
                  <a:lnTo>
                    <a:pt x="688" y="292"/>
                  </a:lnTo>
                  <a:lnTo>
                    <a:pt x="688" y="292"/>
                  </a:lnTo>
                  <a:lnTo>
                    <a:pt x="672" y="290"/>
                  </a:lnTo>
                  <a:lnTo>
                    <a:pt x="656" y="286"/>
                  </a:lnTo>
                  <a:lnTo>
                    <a:pt x="642" y="278"/>
                  </a:lnTo>
                  <a:lnTo>
                    <a:pt x="630" y="268"/>
                  </a:lnTo>
                  <a:lnTo>
                    <a:pt x="620" y="256"/>
                  </a:lnTo>
                  <a:lnTo>
                    <a:pt x="612" y="242"/>
                  </a:lnTo>
                  <a:lnTo>
                    <a:pt x="608" y="226"/>
                  </a:lnTo>
                  <a:lnTo>
                    <a:pt x="606" y="210"/>
                  </a:lnTo>
                  <a:lnTo>
                    <a:pt x="606" y="210"/>
                  </a:lnTo>
                  <a:lnTo>
                    <a:pt x="608" y="194"/>
                  </a:lnTo>
                  <a:lnTo>
                    <a:pt x="612" y="178"/>
                  </a:lnTo>
                  <a:lnTo>
                    <a:pt x="620" y="164"/>
                  </a:lnTo>
                  <a:lnTo>
                    <a:pt x="630" y="152"/>
                  </a:lnTo>
                  <a:lnTo>
                    <a:pt x="642" y="142"/>
                  </a:lnTo>
                  <a:lnTo>
                    <a:pt x="656" y="136"/>
                  </a:lnTo>
                  <a:lnTo>
                    <a:pt x="672" y="130"/>
                  </a:lnTo>
                  <a:lnTo>
                    <a:pt x="688" y="128"/>
                  </a:lnTo>
                  <a:lnTo>
                    <a:pt x="688" y="128"/>
                  </a:lnTo>
                  <a:close/>
                  <a:moveTo>
                    <a:pt x="1240" y="3212"/>
                  </a:moveTo>
                  <a:lnTo>
                    <a:pt x="1236" y="3228"/>
                  </a:lnTo>
                  <a:lnTo>
                    <a:pt x="1232" y="3246"/>
                  </a:lnTo>
                  <a:lnTo>
                    <a:pt x="1226" y="3262"/>
                  </a:lnTo>
                  <a:lnTo>
                    <a:pt x="1218" y="3274"/>
                  </a:lnTo>
                  <a:lnTo>
                    <a:pt x="1212" y="3290"/>
                  </a:lnTo>
                  <a:lnTo>
                    <a:pt x="1200" y="3302"/>
                  </a:lnTo>
                  <a:lnTo>
                    <a:pt x="1188" y="3314"/>
                  </a:lnTo>
                  <a:lnTo>
                    <a:pt x="1176" y="3326"/>
                  </a:lnTo>
                  <a:lnTo>
                    <a:pt x="1164" y="3334"/>
                  </a:lnTo>
                  <a:lnTo>
                    <a:pt x="1150" y="3344"/>
                  </a:lnTo>
                  <a:lnTo>
                    <a:pt x="1134" y="3352"/>
                  </a:lnTo>
                  <a:lnTo>
                    <a:pt x="1118" y="3356"/>
                  </a:lnTo>
                  <a:lnTo>
                    <a:pt x="1100" y="3360"/>
                  </a:lnTo>
                  <a:lnTo>
                    <a:pt x="1082" y="3364"/>
                  </a:lnTo>
                  <a:lnTo>
                    <a:pt x="1066" y="3364"/>
                  </a:lnTo>
                  <a:lnTo>
                    <a:pt x="1048" y="3364"/>
                  </a:lnTo>
                  <a:lnTo>
                    <a:pt x="1030" y="3360"/>
                  </a:lnTo>
                  <a:lnTo>
                    <a:pt x="1014" y="3356"/>
                  </a:lnTo>
                  <a:lnTo>
                    <a:pt x="998" y="3352"/>
                  </a:lnTo>
                  <a:lnTo>
                    <a:pt x="982" y="3344"/>
                  </a:lnTo>
                  <a:lnTo>
                    <a:pt x="968" y="3334"/>
                  </a:lnTo>
                  <a:lnTo>
                    <a:pt x="954" y="3326"/>
                  </a:lnTo>
                  <a:lnTo>
                    <a:pt x="942" y="3314"/>
                  </a:lnTo>
                  <a:lnTo>
                    <a:pt x="932" y="3302"/>
                  </a:lnTo>
                  <a:lnTo>
                    <a:pt x="920" y="3290"/>
                  </a:lnTo>
                  <a:lnTo>
                    <a:pt x="912" y="3274"/>
                  </a:lnTo>
                  <a:lnTo>
                    <a:pt x="904" y="3262"/>
                  </a:lnTo>
                  <a:lnTo>
                    <a:pt x="898" y="3246"/>
                  </a:lnTo>
                  <a:lnTo>
                    <a:pt x="894" y="3228"/>
                  </a:lnTo>
                  <a:lnTo>
                    <a:pt x="892" y="3212"/>
                  </a:lnTo>
                  <a:lnTo>
                    <a:pt x="890" y="3196"/>
                  </a:lnTo>
                  <a:lnTo>
                    <a:pt x="892" y="3176"/>
                  </a:lnTo>
                  <a:lnTo>
                    <a:pt x="894" y="3160"/>
                  </a:lnTo>
                  <a:lnTo>
                    <a:pt x="898" y="3144"/>
                  </a:lnTo>
                  <a:lnTo>
                    <a:pt x="904" y="3130"/>
                  </a:lnTo>
                  <a:lnTo>
                    <a:pt x="912" y="3114"/>
                  </a:lnTo>
                  <a:lnTo>
                    <a:pt x="920" y="3100"/>
                  </a:lnTo>
                  <a:lnTo>
                    <a:pt x="932" y="3086"/>
                  </a:lnTo>
                  <a:lnTo>
                    <a:pt x="942" y="3074"/>
                  </a:lnTo>
                  <a:lnTo>
                    <a:pt x="954" y="3064"/>
                  </a:lnTo>
                  <a:lnTo>
                    <a:pt x="968" y="3054"/>
                  </a:lnTo>
                  <a:lnTo>
                    <a:pt x="982" y="3046"/>
                  </a:lnTo>
                  <a:lnTo>
                    <a:pt x="998" y="3040"/>
                  </a:lnTo>
                  <a:lnTo>
                    <a:pt x="1014" y="3032"/>
                  </a:lnTo>
                  <a:lnTo>
                    <a:pt x="1030" y="3028"/>
                  </a:lnTo>
                  <a:lnTo>
                    <a:pt x="1048" y="3026"/>
                  </a:lnTo>
                  <a:lnTo>
                    <a:pt x="1066" y="3024"/>
                  </a:lnTo>
                  <a:lnTo>
                    <a:pt x="1082" y="3026"/>
                  </a:lnTo>
                  <a:lnTo>
                    <a:pt x="1100" y="3028"/>
                  </a:lnTo>
                  <a:lnTo>
                    <a:pt x="1118" y="3032"/>
                  </a:lnTo>
                  <a:lnTo>
                    <a:pt x="1134" y="3040"/>
                  </a:lnTo>
                  <a:lnTo>
                    <a:pt x="1150" y="3046"/>
                  </a:lnTo>
                  <a:lnTo>
                    <a:pt x="1164" y="3054"/>
                  </a:lnTo>
                  <a:lnTo>
                    <a:pt x="1176" y="3064"/>
                  </a:lnTo>
                  <a:lnTo>
                    <a:pt x="1188" y="3074"/>
                  </a:lnTo>
                  <a:lnTo>
                    <a:pt x="1200" y="3086"/>
                  </a:lnTo>
                  <a:lnTo>
                    <a:pt x="1212" y="3100"/>
                  </a:lnTo>
                  <a:lnTo>
                    <a:pt x="1218" y="3114"/>
                  </a:lnTo>
                  <a:lnTo>
                    <a:pt x="1226" y="3130"/>
                  </a:lnTo>
                  <a:lnTo>
                    <a:pt x="1232" y="3144"/>
                  </a:lnTo>
                  <a:lnTo>
                    <a:pt x="1236" y="3160"/>
                  </a:lnTo>
                  <a:lnTo>
                    <a:pt x="1240" y="3176"/>
                  </a:lnTo>
                  <a:lnTo>
                    <a:pt x="1240" y="3196"/>
                  </a:lnTo>
                  <a:lnTo>
                    <a:pt x="1240" y="3212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208"/>
            <p:cNvSpPr>
              <a:spLocks noChangeAspect="1" noEditPoints="1"/>
            </p:cNvSpPr>
            <p:nvPr/>
          </p:nvSpPr>
          <p:spPr bwMode="auto">
            <a:xfrm>
              <a:off x="702619" y="3113450"/>
              <a:ext cx="176421" cy="241391"/>
            </a:xfrm>
            <a:custGeom>
              <a:avLst/>
              <a:gdLst/>
              <a:ahLst/>
              <a:cxnLst>
                <a:cxn ang="0">
                  <a:pos x="150" y="0"/>
                </a:cxn>
                <a:cxn ang="0">
                  <a:pos x="88" y="22"/>
                </a:cxn>
                <a:cxn ang="0">
                  <a:pos x="38" y="66"/>
                </a:cxn>
                <a:cxn ang="0">
                  <a:pos x="6" y="128"/>
                </a:cxn>
                <a:cxn ang="0">
                  <a:pos x="0" y="3474"/>
                </a:cxn>
                <a:cxn ang="0">
                  <a:pos x="6" y="3528"/>
                </a:cxn>
                <a:cxn ang="0">
                  <a:pos x="38" y="3590"/>
                </a:cxn>
                <a:cxn ang="0">
                  <a:pos x="88" y="3634"/>
                </a:cxn>
                <a:cxn ang="0">
                  <a:pos x="150" y="3656"/>
                </a:cxn>
                <a:cxn ang="0">
                  <a:pos x="2522" y="3656"/>
                </a:cxn>
                <a:cxn ang="0">
                  <a:pos x="2584" y="3634"/>
                </a:cxn>
                <a:cxn ang="0">
                  <a:pos x="2634" y="3590"/>
                </a:cxn>
                <a:cxn ang="0">
                  <a:pos x="2664" y="3528"/>
                </a:cxn>
                <a:cxn ang="0">
                  <a:pos x="2672" y="182"/>
                </a:cxn>
                <a:cxn ang="0">
                  <a:pos x="2664" y="128"/>
                </a:cxn>
                <a:cxn ang="0">
                  <a:pos x="2634" y="66"/>
                </a:cxn>
                <a:cxn ang="0">
                  <a:pos x="2584" y="22"/>
                </a:cxn>
                <a:cxn ang="0">
                  <a:pos x="2522" y="0"/>
                </a:cxn>
                <a:cxn ang="0">
                  <a:pos x="1474" y="3346"/>
                </a:cxn>
                <a:cxn ang="0">
                  <a:pos x="1454" y="3394"/>
                </a:cxn>
                <a:cxn ang="0">
                  <a:pos x="1414" y="3432"/>
                </a:cxn>
                <a:cxn ang="0">
                  <a:pos x="1364" y="3452"/>
                </a:cxn>
                <a:cxn ang="0">
                  <a:pos x="1308" y="3452"/>
                </a:cxn>
                <a:cxn ang="0">
                  <a:pos x="1256" y="3432"/>
                </a:cxn>
                <a:cxn ang="0">
                  <a:pos x="1218" y="3394"/>
                </a:cxn>
                <a:cxn ang="0">
                  <a:pos x="1198" y="3346"/>
                </a:cxn>
                <a:cxn ang="0">
                  <a:pos x="1198" y="3290"/>
                </a:cxn>
                <a:cxn ang="0">
                  <a:pos x="1218" y="3242"/>
                </a:cxn>
                <a:cxn ang="0">
                  <a:pos x="1256" y="3204"/>
                </a:cxn>
                <a:cxn ang="0">
                  <a:pos x="1308" y="3184"/>
                </a:cxn>
                <a:cxn ang="0">
                  <a:pos x="1364" y="3184"/>
                </a:cxn>
                <a:cxn ang="0">
                  <a:pos x="1414" y="3204"/>
                </a:cxn>
                <a:cxn ang="0">
                  <a:pos x="1454" y="3242"/>
                </a:cxn>
                <a:cxn ang="0">
                  <a:pos x="1474" y="3290"/>
                </a:cxn>
                <a:cxn ang="0">
                  <a:pos x="2490" y="2808"/>
                </a:cxn>
                <a:cxn ang="0">
                  <a:pos x="2484" y="2862"/>
                </a:cxn>
                <a:cxn ang="0">
                  <a:pos x="2452" y="2924"/>
                </a:cxn>
                <a:cxn ang="0">
                  <a:pos x="2402" y="2968"/>
                </a:cxn>
                <a:cxn ang="0">
                  <a:pos x="2340" y="2988"/>
                </a:cxn>
                <a:cxn ang="0">
                  <a:pos x="332" y="2988"/>
                </a:cxn>
                <a:cxn ang="0">
                  <a:pos x="268" y="2968"/>
                </a:cxn>
                <a:cxn ang="0">
                  <a:pos x="220" y="2924"/>
                </a:cxn>
                <a:cxn ang="0">
                  <a:pos x="188" y="2862"/>
                </a:cxn>
                <a:cxn ang="0">
                  <a:pos x="180" y="386"/>
                </a:cxn>
                <a:cxn ang="0">
                  <a:pos x="188" y="332"/>
                </a:cxn>
                <a:cxn ang="0">
                  <a:pos x="220" y="272"/>
                </a:cxn>
                <a:cxn ang="0">
                  <a:pos x="268" y="228"/>
                </a:cxn>
                <a:cxn ang="0">
                  <a:pos x="332" y="206"/>
                </a:cxn>
                <a:cxn ang="0">
                  <a:pos x="2340" y="206"/>
                </a:cxn>
                <a:cxn ang="0">
                  <a:pos x="2402" y="228"/>
                </a:cxn>
                <a:cxn ang="0">
                  <a:pos x="2452" y="272"/>
                </a:cxn>
                <a:cxn ang="0">
                  <a:pos x="2484" y="332"/>
                </a:cxn>
                <a:cxn ang="0">
                  <a:pos x="2490" y="2808"/>
                </a:cxn>
              </a:cxnLst>
              <a:rect l="0" t="0" r="r" b="b"/>
              <a:pathLst>
                <a:path w="2672" h="3656">
                  <a:moveTo>
                    <a:pt x="2504" y="0"/>
                  </a:moveTo>
                  <a:lnTo>
                    <a:pt x="168" y="0"/>
                  </a:lnTo>
                  <a:lnTo>
                    <a:pt x="168" y="0"/>
                  </a:lnTo>
                  <a:lnTo>
                    <a:pt x="150" y="0"/>
                  </a:lnTo>
                  <a:lnTo>
                    <a:pt x="134" y="4"/>
                  </a:lnTo>
                  <a:lnTo>
                    <a:pt x="118" y="8"/>
                  </a:lnTo>
                  <a:lnTo>
                    <a:pt x="102" y="14"/>
                  </a:lnTo>
                  <a:lnTo>
                    <a:pt x="88" y="22"/>
                  </a:lnTo>
                  <a:lnTo>
                    <a:pt x="74" y="30"/>
                  </a:lnTo>
                  <a:lnTo>
                    <a:pt x="60" y="42"/>
                  </a:lnTo>
                  <a:lnTo>
                    <a:pt x="48" y="54"/>
                  </a:lnTo>
                  <a:lnTo>
                    <a:pt x="38" y="66"/>
                  </a:lnTo>
                  <a:lnTo>
                    <a:pt x="28" y="80"/>
                  </a:lnTo>
                  <a:lnTo>
                    <a:pt x="20" y="94"/>
                  </a:lnTo>
                  <a:lnTo>
                    <a:pt x="12" y="110"/>
                  </a:lnTo>
                  <a:lnTo>
                    <a:pt x="6" y="128"/>
                  </a:lnTo>
                  <a:lnTo>
                    <a:pt x="2" y="144"/>
                  </a:lnTo>
                  <a:lnTo>
                    <a:pt x="0" y="162"/>
                  </a:lnTo>
                  <a:lnTo>
                    <a:pt x="0" y="182"/>
                  </a:lnTo>
                  <a:lnTo>
                    <a:pt x="0" y="3474"/>
                  </a:lnTo>
                  <a:lnTo>
                    <a:pt x="0" y="3474"/>
                  </a:lnTo>
                  <a:lnTo>
                    <a:pt x="0" y="3494"/>
                  </a:lnTo>
                  <a:lnTo>
                    <a:pt x="2" y="3512"/>
                  </a:lnTo>
                  <a:lnTo>
                    <a:pt x="6" y="3528"/>
                  </a:lnTo>
                  <a:lnTo>
                    <a:pt x="12" y="3546"/>
                  </a:lnTo>
                  <a:lnTo>
                    <a:pt x="20" y="3562"/>
                  </a:lnTo>
                  <a:lnTo>
                    <a:pt x="28" y="3576"/>
                  </a:lnTo>
                  <a:lnTo>
                    <a:pt x="38" y="3590"/>
                  </a:lnTo>
                  <a:lnTo>
                    <a:pt x="48" y="3602"/>
                  </a:lnTo>
                  <a:lnTo>
                    <a:pt x="60" y="3614"/>
                  </a:lnTo>
                  <a:lnTo>
                    <a:pt x="74" y="3626"/>
                  </a:lnTo>
                  <a:lnTo>
                    <a:pt x="88" y="3634"/>
                  </a:lnTo>
                  <a:lnTo>
                    <a:pt x="102" y="3642"/>
                  </a:lnTo>
                  <a:lnTo>
                    <a:pt x="118" y="3648"/>
                  </a:lnTo>
                  <a:lnTo>
                    <a:pt x="134" y="3652"/>
                  </a:lnTo>
                  <a:lnTo>
                    <a:pt x="150" y="3656"/>
                  </a:lnTo>
                  <a:lnTo>
                    <a:pt x="168" y="3656"/>
                  </a:lnTo>
                  <a:lnTo>
                    <a:pt x="2504" y="3656"/>
                  </a:lnTo>
                  <a:lnTo>
                    <a:pt x="2504" y="3656"/>
                  </a:lnTo>
                  <a:lnTo>
                    <a:pt x="2522" y="3656"/>
                  </a:lnTo>
                  <a:lnTo>
                    <a:pt x="2538" y="3652"/>
                  </a:lnTo>
                  <a:lnTo>
                    <a:pt x="2554" y="3648"/>
                  </a:lnTo>
                  <a:lnTo>
                    <a:pt x="2570" y="3642"/>
                  </a:lnTo>
                  <a:lnTo>
                    <a:pt x="2584" y="3634"/>
                  </a:lnTo>
                  <a:lnTo>
                    <a:pt x="2598" y="3626"/>
                  </a:lnTo>
                  <a:lnTo>
                    <a:pt x="2610" y="3614"/>
                  </a:lnTo>
                  <a:lnTo>
                    <a:pt x="2622" y="3602"/>
                  </a:lnTo>
                  <a:lnTo>
                    <a:pt x="2634" y="3590"/>
                  </a:lnTo>
                  <a:lnTo>
                    <a:pt x="2644" y="3576"/>
                  </a:lnTo>
                  <a:lnTo>
                    <a:pt x="2652" y="3562"/>
                  </a:lnTo>
                  <a:lnTo>
                    <a:pt x="2658" y="3546"/>
                  </a:lnTo>
                  <a:lnTo>
                    <a:pt x="2664" y="3528"/>
                  </a:lnTo>
                  <a:lnTo>
                    <a:pt x="2668" y="3512"/>
                  </a:lnTo>
                  <a:lnTo>
                    <a:pt x="2672" y="3494"/>
                  </a:lnTo>
                  <a:lnTo>
                    <a:pt x="2672" y="3474"/>
                  </a:lnTo>
                  <a:lnTo>
                    <a:pt x="2672" y="182"/>
                  </a:lnTo>
                  <a:lnTo>
                    <a:pt x="2672" y="182"/>
                  </a:lnTo>
                  <a:lnTo>
                    <a:pt x="2672" y="162"/>
                  </a:lnTo>
                  <a:lnTo>
                    <a:pt x="2668" y="144"/>
                  </a:lnTo>
                  <a:lnTo>
                    <a:pt x="2664" y="128"/>
                  </a:lnTo>
                  <a:lnTo>
                    <a:pt x="2658" y="110"/>
                  </a:lnTo>
                  <a:lnTo>
                    <a:pt x="2652" y="94"/>
                  </a:lnTo>
                  <a:lnTo>
                    <a:pt x="2644" y="80"/>
                  </a:lnTo>
                  <a:lnTo>
                    <a:pt x="2634" y="66"/>
                  </a:lnTo>
                  <a:lnTo>
                    <a:pt x="2622" y="54"/>
                  </a:lnTo>
                  <a:lnTo>
                    <a:pt x="2610" y="42"/>
                  </a:lnTo>
                  <a:lnTo>
                    <a:pt x="2598" y="30"/>
                  </a:lnTo>
                  <a:lnTo>
                    <a:pt x="2584" y="22"/>
                  </a:lnTo>
                  <a:lnTo>
                    <a:pt x="2570" y="14"/>
                  </a:lnTo>
                  <a:lnTo>
                    <a:pt x="2554" y="8"/>
                  </a:lnTo>
                  <a:lnTo>
                    <a:pt x="2538" y="4"/>
                  </a:lnTo>
                  <a:lnTo>
                    <a:pt x="2522" y="0"/>
                  </a:lnTo>
                  <a:lnTo>
                    <a:pt x="2504" y="0"/>
                  </a:lnTo>
                  <a:lnTo>
                    <a:pt x="2504" y="0"/>
                  </a:lnTo>
                  <a:close/>
                  <a:moveTo>
                    <a:pt x="1476" y="3332"/>
                  </a:moveTo>
                  <a:lnTo>
                    <a:pt x="1474" y="3346"/>
                  </a:lnTo>
                  <a:lnTo>
                    <a:pt x="1472" y="3358"/>
                  </a:lnTo>
                  <a:lnTo>
                    <a:pt x="1466" y="3372"/>
                  </a:lnTo>
                  <a:lnTo>
                    <a:pt x="1460" y="3382"/>
                  </a:lnTo>
                  <a:lnTo>
                    <a:pt x="1454" y="3394"/>
                  </a:lnTo>
                  <a:lnTo>
                    <a:pt x="1444" y="3406"/>
                  </a:lnTo>
                  <a:lnTo>
                    <a:pt x="1436" y="3414"/>
                  </a:lnTo>
                  <a:lnTo>
                    <a:pt x="1426" y="3424"/>
                  </a:lnTo>
                  <a:lnTo>
                    <a:pt x="1414" y="3432"/>
                  </a:lnTo>
                  <a:lnTo>
                    <a:pt x="1404" y="3438"/>
                  </a:lnTo>
                  <a:lnTo>
                    <a:pt x="1390" y="3444"/>
                  </a:lnTo>
                  <a:lnTo>
                    <a:pt x="1378" y="3448"/>
                  </a:lnTo>
                  <a:lnTo>
                    <a:pt x="1364" y="3452"/>
                  </a:lnTo>
                  <a:lnTo>
                    <a:pt x="1350" y="3454"/>
                  </a:lnTo>
                  <a:lnTo>
                    <a:pt x="1336" y="3454"/>
                  </a:lnTo>
                  <a:lnTo>
                    <a:pt x="1322" y="3454"/>
                  </a:lnTo>
                  <a:lnTo>
                    <a:pt x="1308" y="3452"/>
                  </a:lnTo>
                  <a:lnTo>
                    <a:pt x="1294" y="3448"/>
                  </a:lnTo>
                  <a:lnTo>
                    <a:pt x="1280" y="3444"/>
                  </a:lnTo>
                  <a:lnTo>
                    <a:pt x="1268" y="3438"/>
                  </a:lnTo>
                  <a:lnTo>
                    <a:pt x="1256" y="3432"/>
                  </a:lnTo>
                  <a:lnTo>
                    <a:pt x="1246" y="3424"/>
                  </a:lnTo>
                  <a:lnTo>
                    <a:pt x="1236" y="3414"/>
                  </a:lnTo>
                  <a:lnTo>
                    <a:pt x="1228" y="3406"/>
                  </a:lnTo>
                  <a:lnTo>
                    <a:pt x="1218" y="3394"/>
                  </a:lnTo>
                  <a:lnTo>
                    <a:pt x="1212" y="3382"/>
                  </a:lnTo>
                  <a:lnTo>
                    <a:pt x="1206" y="3372"/>
                  </a:lnTo>
                  <a:lnTo>
                    <a:pt x="1200" y="3358"/>
                  </a:lnTo>
                  <a:lnTo>
                    <a:pt x="1198" y="3346"/>
                  </a:lnTo>
                  <a:lnTo>
                    <a:pt x="1196" y="3332"/>
                  </a:lnTo>
                  <a:lnTo>
                    <a:pt x="1194" y="3318"/>
                  </a:lnTo>
                  <a:lnTo>
                    <a:pt x="1196" y="3304"/>
                  </a:lnTo>
                  <a:lnTo>
                    <a:pt x="1198" y="3290"/>
                  </a:lnTo>
                  <a:lnTo>
                    <a:pt x="1200" y="3278"/>
                  </a:lnTo>
                  <a:lnTo>
                    <a:pt x="1206" y="3266"/>
                  </a:lnTo>
                  <a:lnTo>
                    <a:pt x="1212" y="3252"/>
                  </a:lnTo>
                  <a:lnTo>
                    <a:pt x="1218" y="3242"/>
                  </a:lnTo>
                  <a:lnTo>
                    <a:pt x="1228" y="3230"/>
                  </a:lnTo>
                  <a:lnTo>
                    <a:pt x="1236" y="3220"/>
                  </a:lnTo>
                  <a:lnTo>
                    <a:pt x="1246" y="3212"/>
                  </a:lnTo>
                  <a:lnTo>
                    <a:pt x="1256" y="3204"/>
                  </a:lnTo>
                  <a:lnTo>
                    <a:pt x="1268" y="3196"/>
                  </a:lnTo>
                  <a:lnTo>
                    <a:pt x="1280" y="3192"/>
                  </a:lnTo>
                  <a:lnTo>
                    <a:pt x="1294" y="3186"/>
                  </a:lnTo>
                  <a:lnTo>
                    <a:pt x="1308" y="3184"/>
                  </a:lnTo>
                  <a:lnTo>
                    <a:pt x="1322" y="3182"/>
                  </a:lnTo>
                  <a:lnTo>
                    <a:pt x="1336" y="3180"/>
                  </a:lnTo>
                  <a:lnTo>
                    <a:pt x="1350" y="3182"/>
                  </a:lnTo>
                  <a:lnTo>
                    <a:pt x="1364" y="3184"/>
                  </a:lnTo>
                  <a:lnTo>
                    <a:pt x="1378" y="3186"/>
                  </a:lnTo>
                  <a:lnTo>
                    <a:pt x="1390" y="3192"/>
                  </a:lnTo>
                  <a:lnTo>
                    <a:pt x="1404" y="3196"/>
                  </a:lnTo>
                  <a:lnTo>
                    <a:pt x="1414" y="3204"/>
                  </a:lnTo>
                  <a:lnTo>
                    <a:pt x="1426" y="3212"/>
                  </a:lnTo>
                  <a:lnTo>
                    <a:pt x="1436" y="3220"/>
                  </a:lnTo>
                  <a:lnTo>
                    <a:pt x="1444" y="3230"/>
                  </a:lnTo>
                  <a:lnTo>
                    <a:pt x="1454" y="3242"/>
                  </a:lnTo>
                  <a:lnTo>
                    <a:pt x="1460" y="3252"/>
                  </a:lnTo>
                  <a:lnTo>
                    <a:pt x="1466" y="3266"/>
                  </a:lnTo>
                  <a:lnTo>
                    <a:pt x="1472" y="3278"/>
                  </a:lnTo>
                  <a:lnTo>
                    <a:pt x="1474" y="3290"/>
                  </a:lnTo>
                  <a:lnTo>
                    <a:pt x="1476" y="3304"/>
                  </a:lnTo>
                  <a:lnTo>
                    <a:pt x="1478" y="3318"/>
                  </a:lnTo>
                  <a:lnTo>
                    <a:pt x="1476" y="3332"/>
                  </a:lnTo>
                  <a:close/>
                  <a:moveTo>
                    <a:pt x="2490" y="2808"/>
                  </a:moveTo>
                  <a:lnTo>
                    <a:pt x="2490" y="2808"/>
                  </a:lnTo>
                  <a:lnTo>
                    <a:pt x="2490" y="2826"/>
                  </a:lnTo>
                  <a:lnTo>
                    <a:pt x="2488" y="2844"/>
                  </a:lnTo>
                  <a:lnTo>
                    <a:pt x="2484" y="2862"/>
                  </a:lnTo>
                  <a:lnTo>
                    <a:pt x="2478" y="2878"/>
                  </a:lnTo>
                  <a:lnTo>
                    <a:pt x="2470" y="2894"/>
                  </a:lnTo>
                  <a:lnTo>
                    <a:pt x="2462" y="2910"/>
                  </a:lnTo>
                  <a:lnTo>
                    <a:pt x="2452" y="2924"/>
                  </a:lnTo>
                  <a:lnTo>
                    <a:pt x="2442" y="2936"/>
                  </a:lnTo>
                  <a:lnTo>
                    <a:pt x="2430" y="2948"/>
                  </a:lnTo>
                  <a:lnTo>
                    <a:pt x="2416" y="2958"/>
                  </a:lnTo>
                  <a:lnTo>
                    <a:pt x="2402" y="2968"/>
                  </a:lnTo>
                  <a:lnTo>
                    <a:pt x="2388" y="2976"/>
                  </a:lnTo>
                  <a:lnTo>
                    <a:pt x="2372" y="2982"/>
                  </a:lnTo>
                  <a:lnTo>
                    <a:pt x="2356" y="2986"/>
                  </a:lnTo>
                  <a:lnTo>
                    <a:pt x="2340" y="2988"/>
                  </a:lnTo>
                  <a:lnTo>
                    <a:pt x="2322" y="2990"/>
                  </a:lnTo>
                  <a:lnTo>
                    <a:pt x="348" y="2990"/>
                  </a:lnTo>
                  <a:lnTo>
                    <a:pt x="348" y="2990"/>
                  </a:lnTo>
                  <a:lnTo>
                    <a:pt x="332" y="2988"/>
                  </a:lnTo>
                  <a:lnTo>
                    <a:pt x="314" y="2986"/>
                  </a:lnTo>
                  <a:lnTo>
                    <a:pt x="298" y="2982"/>
                  </a:lnTo>
                  <a:lnTo>
                    <a:pt x="284" y="2976"/>
                  </a:lnTo>
                  <a:lnTo>
                    <a:pt x="268" y="2968"/>
                  </a:lnTo>
                  <a:lnTo>
                    <a:pt x="254" y="2958"/>
                  </a:lnTo>
                  <a:lnTo>
                    <a:pt x="242" y="2948"/>
                  </a:lnTo>
                  <a:lnTo>
                    <a:pt x="230" y="2936"/>
                  </a:lnTo>
                  <a:lnTo>
                    <a:pt x="220" y="2924"/>
                  </a:lnTo>
                  <a:lnTo>
                    <a:pt x="210" y="2910"/>
                  </a:lnTo>
                  <a:lnTo>
                    <a:pt x="202" y="2894"/>
                  </a:lnTo>
                  <a:lnTo>
                    <a:pt x="194" y="2878"/>
                  </a:lnTo>
                  <a:lnTo>
                    <a:pt x="188" y="2862"/>
                  </a:lnTo>
                  <a:lnTo>
                    <a:pt x="184" y="2844"/>
                  </a:lnTo>
                  <a:lnTo>
                    <a:pt x="182" y="2826"/>
                  </a:lnTo>
                  <a:lnTo>
                    <a:pt x="180" y="2808"/>
                  </a:lnTo>
                  <a:lnTo>
                    <a:pt x="180" y="386"/>
                  </a:lnTo>
                  <a:lnTo>
                    <a:pt x="180" y="386"/>
                  </a:lnTo>
                  <a:lnTo>
                    <a:pt x="182" y="368"/>
                  </a:lnTo>
                  <a:lnTo>
                    <a:pt x="184" y="350"/>
                  </a:lnTo>
                  <a:lnTo>
                    <a:pt x="188" y="332"/>
                  </a:lnTo>
                  <a:lnTo>
                    <a:pt x="194" y="316"/>
                  </a:lnTo>
                  <a:lnTo>
                    <a:pt x="202" y="300"/>
                  </a:lnTo>
                  <a:lnTo>
                    <a:pt x="210" y="286"/>
                  </a:lnTo>
                  <a:lnTo>
                    <a:pt x="220" y="272"/>
                  </a:lnTo>
                  <a:lnTo>
                    <a:pt x="230" y="258"/>
                  </a:lnTo>
                  <a:lnTo>
                    <a:pt x="242" y="246"/>
                  </a:lnTo>
                  <a:lnTo>
                    <a:pt x="254" y="236"/>
                  </a:lnTo>
                  <a:lnTo>
                    <a:pt x="268" y="228"/>
                  </a:lnTo>
                  <a:lnTo>
                    <a:pt x="284" y="220"/>
                  </a:lnTo>
                  <a:lnTo>
                    <a:pt x="298" y="214"/>
                  </a:lnTo>
                  <a:lnTo>
                    <a:pt x="314" y="210"/>
                  </a:lnTo>
                  <a:lnTo>
                    <a:pt x="332" y="206"/>
                  </a:lnTo>
                  <a:lnTo>
                    <a:pt x="348" y="206"/>
                  </a:lnTo>
                  <a:lnTo>
                    <a:pt x="2322" y="206"/>
                  </a:lnTo>
                  <a:lnTo>
                    <a:pt x="2322" y="206"/>
                  </a:lnTo>
                  <a:lnTo>
                    <a:pt x="2340" y="206"/>
                  </a:lnTo>
                  <a:lnTo>
                    <a:pt x="2356" y="210"/>
                  </a:lnTo>
                  <a:lnTo>
                    <a:pt x="2372" y="214"/>
                  </a:lnTo>
                  <a:lnTo>
                    <a:pt x="2388" y="220"/>
                  </a:lnTo>
                  <a:lnTo>
                    <a:pt x="2402" y="228"/>
                  </a:lnTo>
                  <a:lnTo>
                    <a:pt x="2416" y="236"/>
                  </a:lnTo>
                  <a:lnTo>
                    <a:pt x="2430" y="246"/>
                  </a:lnTo>
                  <a:lnTo>
                    <a:pt x="2442" y="258"/>
                  </a:lnTo>
                  <a:lnTo>
                    <a:pt x="2452" y="272"/>
                  </a:lnTo>
                  <a:lnTo>
                    <a:pt x="2462" y="286"/>
                  </a:lnTo>
                  <a:lnTo>
                    <a:pt x="2470" y="300"/>
                  </a:lnTo>
                  <a:lnTo>
                    <a:pt x="2478" y="316"/>
                  </a:lnTo>
                  <a:lnTo>
                    <a:pt x="2484" y="332"/>
                  </a:lnTo>
                  <a:lnTo>
                    <a:pt x="2488" y="350"/>
                  </a:lnTo>
                  <a:lnTo>
                    <a:pt x="2490" y="368"/>
                  </a:lnTo>
                  <a:lnTo>
                    <a:pt x="2490" y="386"/>
                  </a:lnTo>
                  <a:lnTo>
                    <a:pt x="2490" y="2808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C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2711026" y="5510825"/>
            <a:ext cx="557817" cy="404772"/>
            <a:chOff x="-1602076" y="4826852"/>
            <a:chExt cx="867266" cy="518983"/>
          </a:xfrm>
        </p:grpSpPr>
        <p:pic>
          <p:nvPicPr>
            <p:cNvPr id="90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-1602076" y="4911555"/>
              <a:ext cx="239011" cy="333653"/>
            </a:xfrm>
            <a:prstGeom prst="rect">
              <a:avLst/>
            </a:prstGeom>
          </p:spPr>
        </p:pic>
        <p:pic>
          <p:nvPicPr>
            <p:cNvPr id="91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-1106581" y="4826852"/>
              <a:ext cx="371771" cy="518983"/>
            </a:xfrm>
            <a:prstGeom prst="rect">
              <a:avLst/>
            </a:prstGeom>
          </p:spPr>
        </p:pic>
        <p:sp>
          <p:nvSpPr>
            <p:cNvPr id="92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-1344975" y="4946549"/>
              <a:ext cx="206775" cy="266312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2696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529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0947" y="1436822"/>
            <a:ext cx="5177186" cy="8531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53975" lvl="2" indent="-53975" algn="l"/>
            <a:r>
              <a:rPr lang="en-US" sz="1200" b="1" dirty="0" err="1"/>
              <a:t>Imbunatatirea</a:t>
            </a:r>
            <a:r>
              <a:rPr lang="en-US" sz="1200" b="1" dirty="0"/>
              <a:t> </a:t>
            </a:r>
            <a:r>
              <a:rPr lang="en-US" sz="1200" b="1" dirty="0" err="1"/>
              <a:t>eficientei</a:t>
            </a:r>
            <a:r>
              <a:rPr lang="en-US" sz="1200" b="1" dirty="0"/>
              <a:t> </a:t>
            </a:r>
            <a:r>
              <a:rPr lang="en-US" sz="1200" b="1" dirty="0" err="1"/>
              <a:t>proceselor</a:t>
            </a:r>
            <a:r>
              <a:rPr lang="en-US" sz="1200" b="1" dirty="0"/>
              <a:t> </a:t>
            </a:r>
            <a:r>
              <a:rPr lang="en-US" sz="1200" dirty="0" err="1"/>
              <a:t>prin</a:t>
            </a:r>
            <a:r>
              <a:rPr lang="en-US" sz="1200" dirty="0"/>
              <a:t> </a:t>
            </a:r>
            <a:r>
              <a:rPr lang="en-US" sz="1200" dirty="0" err="1"/>
              <a:t>automatizare</a:t>
            </a:r>
            <a:r>
              <a:rPr lang="en-US" sz="1200" dirty="0"/>
              <a:t> </a:t>
            </a:r>
            <a:r>
              <a:rPr lang="en-US" sz="1200" dirty="0" err="1"/>
              <a:t>si</a:t>
            </a:r>
            <a:r>
              <a:rPr lang="en-US" sz="1200" dirty="0"/>
              <a:t> </a:t>
            </a:r>
            <a:r>
              <a:rPr lang="en-US" sz="1200" dirty="0" err="1"/>
              <a:t>digitalizare</a:t>
            </a:r>
            <a:r>
              <a:rPr lang="en-US" sz="1200" dirty="0"/>
              <a:t> </a:t>
            </a:r>
            <a:r>
              <a:rPr lang="en-US" sz="1200" dirty="0" smtClean="0"/>
              <a:t>  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o-RO" sz="1200" dirty="0" smtClean="0">
                <a:latin typeface="arial" panose="020B0604020202020204" pitchFamily="34" charset="0"/>
              </a:rPr>
              <a:t>optimizarea </a:t>
            </a:r>
            <a:r>
              <a:rPr lang="ro-RO" sz="1200" dirty="0">
                <a:latin typeface="arial" panose="020B0604020202020204" pitchFamily="34" charset="0"/>
              </a:rPr>
              <a:t>fluxului </a:t>
            </a:r>
            <a:r>
              <a:rPr lang="en-US" sz="1200" dirty="0">
                <a:latin typeface="arial" panose="020B0604020202020204" pitchFamily="34" charset="0"/>
              </a:rPr>
              <a:t> in </a:t>
            </a:r>
            <a:r>
              <a:rPr lang="ro-RO" sz="1200" dirty="0">
                <a:latin typeface="arial" panose="020B0604020202020204" pitchFamily="34" charset="0"/>
              </a:rPr>
              <a:t>acordarea de credite ca </a:t>
            </a:r>
            <a:r>
              <a:rPr lang="en-US" sz="1200" dirty="0" err="1" smtClean="0">
                <a:latin typeface="arial" panose="020B0604020202020204" pitchFamily="34" charset="0"/>
              </a:rPr>
              <a:t>prioritate</a:t>
            </a:r>
            <a:endParaRPr lang="en-US" sz="1200" dirty="0" smtClean="0">
              <a:latin typeface="arial" panose="020B0604020202020204" pitchFamily="34" charset="0"/>
            </a:endParaRP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o-RO" sz="1200" dirty="0">
                <a:latin typeface="arial" panose="020B0604020202020204" pitchFamily="34" charset="0"/>
              </a:rPr>
              <a:t>optimizarea și automatizarea proceselor pentru a reduce timpul </a:t>
            </a:r>
            <a:r>
              <a:rPr lang="en-US" sz="1200" dirty="0" smtClean="0">
                <a:latin typeface="arial" panose="020B0604020202020204" pitchFamily="34" charset="0"/>
              </a:rPr>
              <a:t>de </a:t>
            </a:r>
            <a:r>
              <a:rPr lang="en-US" sz="1200" dirty="0" err="1" smtClean="0">
                <a:latin typeface="arial" panose="020B0604020202020204" pitchFamily="34" charset="0"/>
              </a:rPr>
              <a:t>raspuns</a:t>
            </a:r>
            <a:r>
              <a:rPr lang="en-US" sz="1200" dirty="0" smtClean="0">
                <a:latin typeface="arial" panose="020B0604020202020204" pitchFamily="34" charset="0"/>
              </a:rPr>
              <a:t> </a:t>
            </a:r>
            <a:r>
              <a:rPr lang="ro-RO" sz="1200" dirty="0" smtClean="0">
                <a:latin typeface="arial" panose="020B0604020202020204" pitchFamily="34" charset="0"/>
              </a:rPr>
              <a:t>și </a:t>
            </a:r>
            <a:r>
              <a:rPr lang="ro-RO" sz="1200" dirty="0">
                <a:latin typeface="arial" panose="020B0604020202020204" pitchFamily="34" charset="0"/>
              </a:rPr>
              <a:t>pentru a obține creșteri </a:t>
            </a:r>
            <a:r>
              <a:rPr lang="ro-RO" sz="1200" dirty="0">
                <a:solidFill>
                  <a:srgbClr val="3C4043"/>
                </a:solidFill>
                <a:latin typeface="arial" panose="020B0604020202020204" pitchFamily="34" charset="0"/>
              </a:rPr>
              <a:t>de eficiență</a:t>
            </a:r>
            <a:endParaRPr lang="en-US" sz="1200" dirty="0">
              <a:solidFill>
                <a:srgbClr val="3C4043"/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4</a:t>
            </a:r>
            <a:endParaRPr lang="en-GB" sz="8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0947" y="2743189"/>
            <a:ext cx="5177186" cy="901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lvl="0" algn="l"/>
            <a:r>
              <a:rPr lang="en-US" sz="1200" b="1" dirty="0" err="1"/>
              <a:t>Cresterea</a:t>
            </a:r>
            <a:r>
              <a:rPr lang="en-US" sz="1200" b="1" dirty="0"/>
              <a:t> </a:t>
            </a:r>
            <a:r>
              <a:rPr lang="en-US" sz="1200" b="1" dirty="0" err="1"/>
              <a:t>volumelor</a:t>
            </a:r>
            <a:r>
              <a:rPr lang="en-US" sz="1200" b="1" dirty="0"/>
              <a:t> de </a:t>
            </a:r>
            <a:r>
              <a:rPr lang="en-US" sz="1200" b="1" dirty="0" err="1"/>
              <a:t>credite</a:t>
            </a:r>
            <a:r>
              <a:rPr lang="en-US" sz="1200" b="1" dirty="0"/>
              <a:t> </a:t>
            </a:r>
            <a:r>
              <a:rPr lang="en-US" sz="1200" b="1" dirty="0" err="1"/>
              <a:t>nou</a:t>
            </a:r>
            <a:r>
              <a:rPr lang="en-US" sz="1200" b="1" dirty="0"/>
              <a:t> </a:t>
            </a:r>
            <a:r>
              <a:rPr lang="en-US" sz="1200" b="1" dirty="0" err="1"/>
              <a:t>acordate</a:t>
            </a:r>
            <a:r>
              <a:rPr lang="en-US" sz="1200" b="1" dirty="0"/>
              <a:t> </a:t>
            </a:r>
            <a:r>
              <a:rPr lang="en-US" sz="1200" dirty="0" err="1" smtClean="0"/>
              <a:t>bazata</a:t>
            </a:r>
            <a:r>
              <a:rPr lang="en-US" sz="1200" dirty="0" smtClean="0"/>
              <a:t> </a:t>
            </a:r>
            <a:r>
              <a:rPr lang="en-US" sz="1200" dirty="0" err="1" smtClean="0"/>
              <a:t>pe</a:t>
            </a:r>
            <a:r>
              <a:rPr lang="en-US" sz="1200" b="1" dirty="0" smtClean="0"/>
              <a:t>:</a:t>
            </a:r>
            <a:r>
              <a:rPr lang="en-US" sz="1200" dirty="0" smtClean="0"/>
              <a:t>: 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err="1"/>
              <a:t>abordare</a:t>
            </a:r>
            <a:r>
              <a:rPr lang="en-US" sz="1200" dirty="0"/>
              <a:t> </a:t>
            </a:r>
            <a:r>
              <a:rPr lang="en-US" sz="1200" dirty="0" err="1"/>
              <a:t>sectoriala</a:t>
            </a:r>
            <a:r>
              <a:rPr lang="en-US" sz="1200" dirty="0"/>
              <a:t> </a:t>
            </a:r>
            <a:r>
              <a:rPr lang="en-US" sz="1200" dirty="0" err="1"/>
              <a:t>rafinata</a:t>
            </a:r>
            <a:r>
              <a:rPr lang="en-US" sz="1200" dirty="0"/>
              <a:t> </a:t>
            </a:r>
            <a:r>
              <a:rPr lang="en-US" sz="1200" dirty="0" err="1"/>
              <a:t>pentru</a:t>
            </a:r>
            <a:r>
              <a:rPr lang="en-US" sz="1200" dirty="0"/>
              <a:t> </a:t>
            </a:r>
            <a:r>
              <a:rPr lang="en-US" sz="1200" dirty="0" err="1"/>
              <a:t>intelegerea</a:t>
            </a:r>
            <a:r>
              <a:rPr lang="en-US" sz="1200" dirty="0"/>
              <a:t> </a:t>
            </a:r>
            <a:r>
              <a:rPr lang="en-US" sz="1200" dirty="0" err="1"/>
              <a:t>aprofundata</a:t>
            </a:r>
            <a:r>
              <a:rPr lang="en-US" sz="1200" dirty="0"/>
              <a:t> a </a:t>
            </a:r>
            <a:r>
              <a:rPr lang="en-US" sz="1200" dirty="0" err="1"/>
              <a:t>profilurilor</a:t>
            </a:r>
            <a:r>
              <a:rPr lang="en-US" sz="1200" dirty="0"/>
              <a:t> de </a:t>
            </a:r>
            <a:r>
              <a:rPr lang="en-US" sz="1200" dirty="0" err="1"/>
              <a:t>afaceri</a:t>
            </a:r>
            <a:r>
              <a:rPr lang="en-US" sz="1200" dirty="0"/>
              <a:t> </a:t>
            </a:r>
            <a:r>
              <a:rPr lang="en-US" sz="1200" dirty="0" err="1"/>
              <a:t>si</a:t>
            </a:r>
            <a:r>
              <a:rPr lang="en-US" sz="1200" dirty="0"/>
              <a:t> </a:t>
            </a:r>
            <a:r>
              <a:rPr lang="en-US" sz="1200" dirty="0" err="1"/>
              <a:t>risc</a:t>
            </a:r>
            <a:r>
              <a:rPr lang="en-US" sz="1200" dirty="0"/>
              <a:t> ale </a:t>
            </a:r>
            <a:r>
              <a:rPr lang="en-US" sz="1200" dirty="0" err="1"/>
              <a:t>clientilor</a:t>
            </a:r>
            <a:r>
              <a:rPr lang="en-US" sz="1200" dirty="0"/>
              <a:t> </a:t>
            </a:r>
            <a:endParaRPr lang="en-US" sz="1200" dirty="0" smtClean="0"/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/>
              <a:t>proces</a:t>
            </a:r>
            <a:r>
              <a:rPr lang="en-US" sz="1200" dirty="0" smtClean="0"/>
              <a:t> </a:t>
            </a:r>
            <a:r>
              <a:rPr lang="en-US" sz="1200" dirty="0" err="1"/>
              <a:t>eficient</a:t>
            </a:r>
            <a:r>
              <a:rPr lang="en-US" sz="1200" dirty="0"/>
              <a:t>, </a:t>
            </a:r>
            <a:r>
              <a:rPr lang="en-US" sz="1200" dirty="0" err="1"/>
              <a:t>simplificat</a:t>
            </a:r>
            <a:r>
              <a:rPr lang="en-US" sz="1200" dirty="0"/>
              <a:t> </a:t>
            </a:r>
            <a:r>
              <a:rPr lang="en-US" sz="1200" dirty="0" err="1"/>
              <a:t>si</a:t>
            </a:r>
            <a:r>
              <a:rPr lang="en-US" sz="1200" dirty="0"/>
              <a:t> </a:t>
            </a:r>
            <a:r>
              <a:rPr lang="en-US" sz="1200" dirty="0" err="1"/>
              <a:t>industrializat</a:t>
            </a:r>
            <a:r>
              <a:rPr lang="en-US" sz="1200" dirty="0"/>
              <a:t> </a:t>
            </a:r>
            <a:r>
              <a:rPr lang="en-US" sz="1200" dirty="0" err="1"/>
              <a:t>pentru</a:t>
            </a:r>
            <a:r>
              <a:rPr lang="en-US" sz="1200" dirty="0"/>
              <a:t> IMM-</a:t>
            </a:r>
            <a:r>
              <a:rPr lang="en-US" sz="1200" dirty="0" err="1"/>
              <a:t>uri</a:t>
            </a:r>
            <a:r>
              <a:rPr lang="ro-RO" sz="1200" dirty="0" smtClean="0">
                <a:solidFill>
                  <a:srgbClr val="3C4043"/>
                </a:solidFill>
                <a:latin typeface="arial" panose="020B0604020202020204" pitchFamily="34" charset="0"/>
              </a:rPr>
              <a:t>.</a:t>
            </a:r>
            <a:endParaRPr lang="en-US" sz="1200" dirty="0">
              <a:solidFill>
                <a:srgbClr val="3C4043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610947" y="4040409"/>
            <a:ext cx="5177186" cy="7273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o-RO" sz="1200" dirty="0"/>
              <a:t>crearea unei structuri specializate </a:t>
            </a:r>
            <a:endParaRPr lang="en-US" sz="1200" dirty="0" smtClean="0"/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o-RO" sz="1200" dirty="0" smtClean="0"/>
              <a:t>dezvoltarea </a:t>
            </a:r>
            <a:r>
              <a:rPr lang="ro-RO" sz="1200" dirty="0"/>
              <a:t>expertizei </a:t>
            </a:r>
            <a:r>
              <a:rPr lang="ro-RO" sz="1200" dirty="0" smtClean="0"/>
              <a:t>necesare</a:t>
            </a:r>
            <a:endParaRPr lang="en-US" sz="1200" dirty="0" smtClean="0"/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o-RO" sz="1200" dirty="0" smtClean="0"/>
              <a:t>încheierea </a:t>
            </a:r>
            <a:r>
              <a:rPr lang="ro-RO" sz="1200" dirty="0"/>
              <a:t>primelor tranzacții semnificative</a:t>
            </a:r>
            <a:endParaRPr lang="en-US" sz="1200" dirty="0"/>
          </a:p>
          <a:p>
            <a:pPr marL="511175" lvl="2" algn="l">
              <a:buClr>
                <a:srgbClr val="C00000"/>
              </a:buClr>
            </a:pPr>
            <a:endParaRPr lang="en-US" sz="11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3582005" y="5161507"/>
            <a:ext cx="5270606" cy="9323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t">
            <a:noAutofit/>
          </a:bodyPr>
          <a:lstStyle/>
          <a:p>
            <a:pPr lvl="0" algn="l"/>
            <a:r>
              <a:rPr lang="en-US" sz="1200" b="1" dirty="0" err="1"/>
              <a:t>Continuarea</a:t>
            </a:r>
            <a:r>
              <a:rPr lang="en-US" sz="1200" b="1" dirty="0"/>
              <a:t> </a:t>
            </a:r>
            <a:r>
              <a:rPr lang="en-US" sz="1200" b="1" dirty="0" err="1"/>
              <a:t>dezvoltarii</a:t>
            </a:r>
            <a:r>
              <a:rPr lang="en-US" sz="1200" b="1" dirty="0"/>
              <a:t> </a:t>
            </a:r>
            <a:r>
              <a:rPr lang="en-US" sz="1200" b="1" dirty="0" err="1"/>
              <a:t>sinergiilor</a:t>
            </a:r>
            <a:r>
              <a:rPr lang="en-US" sz="1200" b="1" dirty="0"/>
              <a:t> cu :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err="1"/>
              <a:t>segmentul</a:t>
            </a:r>
            <a:r>
              <a:rPr lang="en-US" sz="1200" dirty="0"/>
              <a:t> Retail, </a:t>
            </a:r>
            <a:r>
              <a:rPr lang="en-US" sz="1200" dirty="0" err="1"/>
              <a:t>filialele</a:t>
            </a:r>
            <a:r>
              <a:rPr lang="en-US" sz="1200" dirty="0"/>
              <a:t> locale </a:t>
            </a:r>
            <a:r>
              <a:rPr lang="en-US" sz="1200" dirty="0" err="1"/>
              <a:t>si</a:t>
            </a:r>
            <a:r>
              <a:rPr lang="en-US" sz="1200" dirty="0"/>
              <a:t> </a:t>
            </a:r>
            <a:r>
              <a:rPr lang="en-US" sz="1200" dirty="0" err="1"/>
              <a:t>liniile</a:t>
            </a:r>
            <a:r>
              <a:rPr lang="en-US" sz="1200" dirty="0"/>
              <a:t> de business ale </a:t>
            </a:r>
            <a:r>
              <a:rPr lang="en-US" sz="1200" dirty="0" err="1"/>
              <a:t>Grupului</a:t>
            </a:r>
            <a:r>
              <a:rPr lang="en-US" sz="1200" dirty="0"/>
              <a:t> SG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err="1"/>
              <a:t>capabilitatilor</a:t>
            </a:r>
            <a:r>
              <a:rPr lang="en-US" sz="1200" dirty="0"/>
              <a:t> </a:t>
            </a:r>
            <a:r>
              <a:rPr lang="en-US" sz="1200" dirty="0" err="1"/>
              <a:t>departamentului</a:t>
            </a:r>
            <a:r>
              <a:rPr lang="en-US" sz="1200" dirty="0"/>
              <a:t> </a:t>
            </a:r>
            <a:r>
              <a:rPr lang="en-US" sz="1200" dirty="0" err="1"/>
              <a:t>Piete</a:t>
            </a:r>
            <a:r>
              <a:rPr lang="en-US" sz="1200" dirty="0"/>
              <a:t> de Capital </a:t>
            </a:r>
          </a:p>
          <a:p>
            <a:pPr marL="739775" lvl="2" indent="-22860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err="1"/>
              <a:t>activitatilor</a:t>
            </a:r>
            <a:r>
              <a:rPr lang="en-US" sz="1200" dirty="0"/>
              <a:t> </a:t>
            </a:r>
            <a:r>
              <a:rPr lang="en-US" sz="1200" dirty="0" smtClean="0"/>
              <a:t>Global Transactional Banking</a:t>
            </a:r>
            <a:endParaRPr lang="en-US" sz="1200" dirty="0"/>
          </a:p>
        </p:txBody>
      </p:sp>
      <p:sp>
        <p:nvSpPr>
          <p:cNvPr id="25" name="Titre 31"/>
          <p:cNvSpPr>
            <a:spLocks noGrp="1"/>
          </p:cNvSpPr>
          <p:nvPr>
            <p:ph type="title"/>
          </p:nvPr>
        </p:nvSpPr>
        <p:spPr>
          <a:xfrm>
            <a:off x="325439" y="396533"/>
            <a:ext cx="8497887" cy="276999"/>
          </a:xfrm>
        </p:spPr>
        <p:txBody>
          <a:bodyPr vert="horz"/>
          <a:lstStyle/>
          <a:p>
            <a:r>
              <a:rPr lang="fr-FR" kern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ANSFORMAREA MODELULUI DE AFACERI | COMPANII</a:t>
            </a:r>
            <a:endParaRPr lang="fr-FR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5" name="Freeform 308">
            <a:extLst>
              <a:ext uri="{FF2B5EF4-FFF2-40B4-BE49-F238E27FC236}">
                <a16:creationId xmlns:a16="http://schemas.microsoft.com/office/drawing/2014/main" id="{435FD79E-627A-449D-96DB-A1C3C0CDE6BF}"/>
              </a:ext>
            </a:extLst>
          </p:cNvPr>
          <p:cNvSpPr/>
          <p:nvPr/>
        </p:nvSpPr>
        <p:spPr>
          <a:xfrm>
            <a:off x="3021227" y="5592799"/>
            <a:ext cx="360040" cy="288032"/>
          </a:xfrm>
          <a:custGeom>
            <a:avLst/>
            <a:gdLst>
              <a:gd name="connsiteX0" fmla="*/ 432708 w 540885"/>
              <a:gd name="connsiteY0" fmla="*/ 356081 h 496091"/>
              <a:gd name="connsiteX1" fmla="*/ 407355 w 540885"/>
              <a:gd name="connsiteY1" fmla="*/ 366786 h 496091"/>
              <a:gd name="connsiteX2" fmla="*/ 396649 w 540885"/>
              <a:gd name="connsiteY2" fmla="*/ 392140 h 496091"/>
              <a:gd name="connsiteX3" fmla="*/ 407213 w 540885"/>
              <a:gd name="connsiteY3" fmla="*/ 417635 h 496091"/>
              <a:gd name="connsiteX4" fmla="*/ 432708 w 540885"/>
              <a:gd name="connsiteY4" fmla="*/ 428199 h 496091"/>
              <a:gd name="connsiteX5" fmla="*/ 458203 w 540885"/>
              <a:gd name="connsiteY5" fmla="*/ 417635 h 496091"/>
              <a:gd name="connsiteX6" fmla="*/ 468767 w 540885"/>
              <a:gd name="connsiteY6" fmla="*/ 392140 h 496091"/>
              <a:gd name="connsiteX7" fmla="*/ 458063 w 540885"/>
              <a:gd name="connsiteY7" fmla="*/ 366786 h 496091"/>
              <a:gd name="connsiteX8" fmla="*/ 432708 w 540885"/>
              <a:gd name="connsiteY8" fmla="*/ 356081 h 496091"/>
              <a:gd name="connsiteX9" fmla="*/ 396649 w 540885"/>
              <a:gd name="connsiteY9" fmla="*/ 288471 h 496091"/>
              <a:gd name="connsiteX10" fmla="*/ 409608 w 540885"/>
              <a:gd name="connsiteY10" fmla="*/ 301570 h 496091"/>
              <a:gd name="connsiteX11" fmla="*/ 424257 w 540885"/>
              <a:gd name="connsiteY11" fmla="*/ 320586 h 496091"/>
              <a:gd name="connsiteX12" fmla="*/ 432708 w 540885"/>
              <a:gd name="connsiteY12" fmla="*/ 320023 h 496091"/>
              <a:gd name="connsiteX13" fmla="*/ 441160 w 540885"/>
              <a:gd name="connsiteY13" fmla="*/ 320586 h 496091"/>
              <a:gd name="connsiteX14" fmla="*/ 467077 w 540885"/>
              <a:gd name="connsiteY14" fmla="*/ 289034 h 496091"/>
              <a:gd name="connsiteX15" fmla="*/ 468767 w 540885"/>
              <a:gd name="connsiteY15" fmla="*/ 288471 h 496091"/>
              <a:gd name="connsiteX16" fmla="*/ 503699 w 540885"/>
              <a:gd name="connsiteY16" fmla="*/ 308190 h 496091"/>
              <a:gd name="connsiteX17" fmla="*/ 504826 w 540885"/>
              <a:gd name="connsiteY17" fmla="*/ 310163 h 496091"/>
              <a:gd name="connsiteX18" fmla="*/ 490459 w 540885"/>
              <a:gd name="connsiteY18" fmla="*/ 349039 h 496091"/>
              <a:gd name="connsiteX19" fmla="*/ 498910 w 540885"/>
              <a:gd name="connsiteY19" fmla="*/ 363688 h 496091"/>
              <a:gd name="connsiteX20" fmla="*/ 540885 w 540885"/>
              <a:gd name="connsiteY20" fmla="*/ 372421 h 496091"/>
              <a:gd name="connsiteX21" fmla="*/ 540885 w 540885"/>
              <a:gd name="connsiteY21" fmla="*/ 411860 h 496091"/>
              <a:gd name="connsiteX22" fmla="*/ 498910 w 540885"/>
              <a:gd name="connsiteY22" fmla="*/ 420593 h 496091"/>
              <a:gd name="connsiteX23" fmla="*/ 490459 w 540885"/>
              <a:gd name="connsiteY23" fmla="*/ 435242 h 496091"/>
              <a:gd name="connsiteX24" fmla="*/ 504826 w 540885"/>
              <a:gd name="connsiteY24" fmla="*/ 474118 h 496091"/>
              <a:gd name="connsiteX25" fmla="*/ 503699 w 540885"/>
              <a:gd name="connsiteY25" fmla="*/ 476090 h 496091"/>
              <a:gd name="connsiteX26" fmla="*/ 468767 w 540885"/>
              <a:gd name="connsiteY26" fmla="*/ 496091 h 496091"/>
              <a:gd name="connsiteX27" fmla="*/ 455809 w 540885"/>
              <a:gd name="connsiteY27" fmla="*/ 482851 h 496091"/>
              <a:gd name="connsiteX28" fmla="*/ 441160 w 540885"/>
              <a:gd name="connsiteY28" fmla="*/ 463695 h 496091"/>
              <a:gd name="connsiteX29" fmla="*/ 432708 w 540885"/>
              <a:gd name="connsiteY29" fmla="*/ 464258 h 496091"/>
              <a:gd name="connsiteX30" fmla="*/ 424257 w 540885"/>
              <a:gd name="connsiteY30" fmla="*/ 463695 h 496091"/>
              <a:gd name="connsiteX31" fmla="*/ 409608 w 540885"/>
              <a:gd name="connsiteY31" fmla="*/ 482851 h 496091"/>
              <a:gd name="connsiteX32" fmla="*/ 396649 w 540885"/>
              <a:gd name="connsiteY32" fmla="*/ 496091 h 496091"/>
              <a:gd name="connsiteX33" fmla="*/ 361717 w 540885"/>
              <a:gd name="connsiteY33" fmla="*/ 476090 h 496091"/>
              <a:gd name="connsiteX34" fmla="*/ 360591 w 540885"/>
              <a:gd name="connsiteY34" fmla="*/ 474118 h 496091"/>
              <a:gd name="connsiteX35" fmla="*/ 374958 w 540885"/>
              <a:gd name="connsiteY35" fmla="*/ 435242 h 496091"/>
              <a:gd name="connsiteX36" fmla="*/ 366507 w 540885"/>
              <a:gd name="connsiteY36" fmla="*/ 420593 h 496091"/>
              <a:gd name="connsiteX37" fmla="*/ 324532 w 540885"/>
              <a:gd name="connsiteY37" fmla="*/ 411860 h 496091"/>
              <a:gd name="connsiteX38" fmla="*/ 324532 w 540885"/>
              <a:gd name="connsiteY38" fmla="*/ 372421 h 496091"/>
              <a:gd name="connsiteX39" fmla="*/ 366507 w 540885"/>
              <a:gd name="connsiteY39" fmla="*/ 363688 h 496091"/>
              <a:gd name="connsiteX40" fmla="*/ 374958 w 540885"/>
              <a:gd name="connsiteY40" fmla="*/ 349039 h 496091"/>
              <a:gd name="connsiteX41" fmla="*/ 360591 w 540885"/>
              <a:gd name="connsiteY41" fmla="*/ 310163 h 496091"/>
              <a:gd name="connsiteX42" fmla="*/ 361717 w 540885"/>
              <a:gd name="connsiteY42" fmla="*/ 308190 h 496091"/>
              <a:gd name="connsiteX43" fmla="*/ 371577 w 540885"/>
              <a:gd name="connsiteY43" fmla="*/ 302557 h 496091"/>
              <a:gd name="connsiteX44" fmla="*/ 388198 w 540885"/>
              <a:gd name="connsiteY44" fmla="*/ 292978 h 496091"/>
              <a:gd name="connsiteX45" fmla="*/ 396649 w 540885"/>
              <a:gd name="connsiteY45" fmla="*/ 288471 h 496091"/>
              <a:gd name="connsiteX46" fmla="*/ 180295 w 540885"/>
              <a:gd name="connsiteY46" fmla="*/ 175788 h 496091"/>
              <a:gd name="connsiteX47" fmla="*/ 129305 w 540885"/>
              <a:gd name="connsiteY47" fmla="*/ 196916 h 496091"/>
              <a:gd name="connsiteX48" fmla="*/ 108177 w 540885"/>
              <a:gd name="connsiteY48" fmla="*/ 247906 h 496091"/>
              <a:gd name="connsiteX49" fmla="*/ 129305 w 540885"/>
              <a:gd name="connsiteY49" fmla="*/ 298895 h 496091"/>
              <a:gd name="connsiteX50" fmla="*/ 180295 w 540885"/>
              <a:gd name="connsiteY50" fmla="*/ 320024 h 496091"/>
              <a:gd name="connsiteX51" fmla="*/ 231285 w 540885"/>
              <a:gd name="connsiteY51" fmla="*/ 298895 h 496091"/>
              <a:gd name="connsiteX52" fmla="*/ 252413 w 540885"/>
              <a:gd name="connsiteY52" fmla="*/ 247906 h 496091"/>
              <a:gd name="connsiteX53" fmla="*/ 231285 w 540885"/>
              <a:gd name="connsiteY53" fmla="*/ 196916 h 496091"/>
              <a:gd name="connsiteX54" fmla="*/ 180295 w 540885"/>
              <a:gd name="connsiteY54" fmla="*/ 175788 h 496091"/>
              <a:gd name="connsiteX55" fmla="*/ 432708 w 540885"/>
              <a:gd name="connsiteY55" fmla="*/ 67611 h 496091"/>
              <a:gd name="connsiteX56" fmla="*/ 407355 w 540885"/>
              <a:gd name="connsiteY56" fmla="*/ 78316 h 496091"/>
              <a:gd name="connsiteX57" fmla="*/ 396649 w 540885"/>
              <a:gd name="connsiteY57" fmla="*/ 103670 h 496091"/>
              <a:gd name="connsiteX58" fmla="*/ 407213 w 540885"/>
              <a:gd name="connsiteY58" fmla="*/ 129165 h 496091"/>
              <a:gd name="connsiteX59" fmla="*/ 432708 w 540885"/>
              <a:gd name="connsiteY59" fmla="*/ 139729 h 496091"/>
              <a:gd name="connsiteX60" fmla="*/ 458203 w 540885"/>
              <a:gd name="connsiteY60" fmla="*/ 129165 h 496091"/>
              <a:gd name="connsiteX61" fmla="*/ 468767 w 540885"/>
              <a:gd name="connsiteY61" fmla="*/ 103670 h 496091"/>
              <a:gd name="connsiteX62" fmla="*/ 458063 w 540885"/>
              <a:gd name="connsiteY62" fmla="*/ 78316 h 496091"/>
              <a:gd name="connsiteX63" fmla="*/ 432708 w 540885"/>
              <a:gd name="connsiteY63" fmla="*/ 67611 h 496091"/>
              <a:gd name="connsiteX64" fmla="*/ 154096 w 540885"/>
              <a:gd name="connsiteY64" fmla="*/ 67611 h 496091"/>
              <a:gd name="connsiteX65" fmla="*/ 206494 w 540885"/>
              <a:gd name="connsiteY65" fmla="*/ 67611 h 496091"/>
              <a:gd name="connsiteX66" fmla="*/ 212128 w 540885"/>
              <a:gd name="connsiteY66" fmla="*/ 69724 h 496091"/>
              <a:gd name="connsiteX67" fmla="*/ 214945 w 540885"/>
              <a:gd name="connsiteY67" fmla="*/ 74654 h 496091"/>
              <a:gd name="connsiteX68" fmla="*/ 221425 w 540885"/>
              <a:gd name="connsiteY68" fmla="*/ 117755 h 496091"/>
              <a:gd name="connsiteX69" fmla="*/ 242553 w 540885"/>
              <a:gd name="connsiteY69" fmla="*/ 126488 h 496091"/>
              <a:gd name="connsiteX70" fmla="*/ 275795 w 540885"/>
              <a:gd name="connsiteY70" fmla="*/ 101416 h 496091"/>
              <a:gd name="connsiteX71" fmla="*/ 281429 w 540885"/>
              <a:gd name="connsiteY71" fmla="*/ 99444 h 496091"/>
              <a:gd name="connsiteX72" fmla="*/ 287345 w 540885"/>
              <a:gd name="connsiteY72" fmla="*/ 101698 h 496091"/>
              <a:gd name="connsiteX73" fmla="*/ 327911 w 540885"/>
              <a:gd name="connsiteY73" fmla="*/ 146772 h 496091"/>
              <a:gd name="connsiteX74" fmla="*/ 325939 w 540885"/>
              <a:gd name="connsiteY74" fmla="*/ 152124 h 496091"/>
              <a:gd name="connsiteX75" fmla="*/ 314108 w 540885"/>
              <a:gd name="connsiteY75" fmla="*/ 167337 h 496091"/>
              <a:gd name="connsiteX76" fmla="*/ 301430 w 540885"/>
              <a:gd name="connsiteY76" fmla="*/ 184239 h 496091"/>
              <a:gd name="connsiteX77" fmla="*/ 311008 w 540885"/>
              <a:gd name="connsiteY77" fmla="*/ 207339 h 496091"/>
              <a:gd name="connsiteX78" fmla="*/ 353828 w 540885"/>
              <a:gd name="connsiteY78" fmla="*/ 213819 h 496091"/>
              <a:gd name="connsiteX79" fmla="*/ 358618 w 540885"/>
              <a:gd name="connsiteY79" fmla="*/ 216777 h 496091"/>
              <a:gd name="connsiteX80" fmla="*/ 360590 w 540885"/>
              <a:gd name="connsiteY80" fmla="*/ 222270 h 496091"/>
              <a:gd name="connsiteX81" fmla="*/ 360590 w 540885"/>
              <a:gd name="connsiteY81" fmla="*/ 274386 h 496091"/>
              <a:gd name="connsiteX82" fmla="*/ 358618 w 540885"/>
              <a:gd name="connsiteY82" fmla="*/ 279880 h 496091"/>
              <a:gd name="connsiteX83" fmla="*/ 354110 w 540885"/>
              <a:gd name="connsiteY83" fmla="*/ 282838 h 496091"/>
              <a:gd name="connsiteX84" fmla="*/ 310445 w 540885"/>
              <a:gd name="connsiteY84" fmla="*/ 289599 h 496091"/>
              <a:gd name="connsiteX85" fmla="*/ 301430 w 540885"/>
              <a:gd name="connsiteY85" fmla="*/ 311009 h 496091"/>
              <a:gd name="connsiteX86" fmla="*/ 326784 w 540885"/>
              <a:gd name="connsiteY86" fmla="*/ 343405 h 496091"/>
              <a:gd name="connsiteX87" fmla="*/ 328756 w 540885"/>
              <a:gd name="connsiteY87" fmla="*/ 349040 h 496091"/>
              <a:gd name="connsiteX88" fmla="*/ 326784 w 540885"/>
              <a:gd name="connsiteY88" fmla="*/ 354392 h 496091"/>
              <a:gd name="connsiteX89" fmla="*/ 303543 w 540885"/>
              <a:gd name="connsiteY89" fmla="*/ 379605 h 496091"/>
              <a:gd name="connsiteX90" fmla="*/ 281429 w 540885"/>
              <a:gd name="connsiteY90" fmla="*/ 396367 h 496091"/>
              <a:gd name="connsiteX91" fmla="*/ 275513 w 540885"/>
              <a:gd name="connsiteY91" fmla="*/ 394395 h 496091"/>
              <a:gd name="connsiteX92" fmla="*/ 243117 w 540885"/>
              <a:gd name="connsiteY92" fmla="*/ 369041 h 496091"/>
              <a:gd name="connsiteX93" fmla="*/ 221425 w 540885"/>
              <a:gd name="connsiteY93" fmla="*/ 377774 h 496091"/>
              <a:gd name="connsiteX94" fmla="*/ 214945 w 540885"/>
              <a:gd name="connsiteY94" fmla="*/ 421439 h 496091"/>
              <a:gd name="connsiteX95" fmla="*/ 206494 w 540885"/>
              <a:gd name="connsiteY95" fmla="*/ 428200 h 496091"/>
              <a:gd name="connsiteX96" fmla="*/ 154096 w 540885"/>
              <a:gd name="connsiteY96" fmla="*/ 428200 h 496091"/>
              <a:gd name="connsiteX97" fmla="*/ 148462 w 540885"/>
              <a:gd name="connsiteY97" fmla="*/ 426087 h 496091"/>
              <a:gd name="connsiteX98" fmla="*/ 145645 w 540885"/>
              <a:gd name="connsiteY98" fmla="*/ 421158 h 496091"/>
              <a:gd name="connsiteX99" fmla="*/ 139165 w 540885"/>
              <a:gd name="connsiteY99" fmla="*/ 378056 h 496091"/>
              <a:gd name="connsiteX100" fmla="*/ 118037 w 540885"/>
              <a:gd name="connsiteY100" fmla="*/ 369323 h 496091"/>
              <a:gd name="connsiteX101" fmla="*/ 84795 w 540885"/>
              <a:gd name="connsiteY101" fmla="*/ 394395 h 496091"/>
              <a:gd name="connsiteX102" fmla="*/ 79161 w 540885"/>
              <a:gd name="connsiteY102" fmla="*/ 396367 h 496091"/>
              <a:gd name="connsiteX103" fmla="*/ 73245 w 540885"/>
              <a:gd name="connsiteY103" fmla="*/ 394113 h 496091"/>
              <a:gd name="connsiteX104" fmla="*/ 32679 w 540885"/>
              <a:gd name="connsiteY104" fmla="*/ 349040 h 496091"/>
              <a:gd name="connsiteX105" fmla="*/ 34651 w 540885"/>
              <a:gd name="connsiteY105" fmla="*/ 343687 h 496091"/>
              <a:gd name="connsiteX106" fmla="*/ 46201 w 540885"/>
              <a:gd name="connsiteY106" fmla="*/ 328756 h 496091"/>
              <a:gd name="connsiteX107" fmla="*/ 59441 w 540885"/>
              <a:gd name="connsiteY107" fmla="*/ 311572 h 496091"/>
              <a:gd name="connsiteX108" fmla="*/ 49581 w 540885"/>
              <a:gd name="connsiteY108" fmla="*/ 288472 h 496091"/>
              <a:gd name="connsiteX109" fmla="*/ 6761 w 540885"/>
              <a:gd name="connsiteY109" fmla="*/ 281711 h 496091"/>
              <a:gd name="connsiteX110" fmla="*/ 1972 w 540885"/>
              <a:gd name="connsiteY110" fmla="*/ 279034 h 496091"/>
              <a:gd name="connsiteX111" fmla="*/ 0 w 540885"/>
              <a:gd name="connsiteY111" fmla="*/ 273541 h 496091"/>
              <a:gd name="connsiteX112" fmla="*/ 0 w 540885"/>
              <a:gd name="connsiteY112" fmla="*/ 221425 h 496091"/>
              <a:gd name="connsiteX113" fmla="*/ 1972 w 540885"/>
              <a:gd name="connsiteY113" fmla="*/ 215932 h 496091"/>
              <a:gd name="connsiteX114" fmla="*/ 6480 w 540885"/>
              <a:gd name="connsiteY114" fmla="*/ 212973 h 496091"/>
              <a:gd name="connsiteX115" fmla="*/ 50145 w 540885"/>
              <a:gd name="connsiteY115" fmla="*/ 206213 h 496091"/>
              <a:gd name="connsiteX116" fmla="*/ 59159 w 540885"/>
              <a:gd name="connsiteY116" fmla="*/ 184802 h 496091"/>
              <a:gd name="connsiteX117" fmla="*/ 33806 w 540885"/>
              <a:gd name="connsiteY117" fmla="*/ 152406 h 496091"/>
              <a:gd name="connsiteX118" fmla="*/ 31834 w 540885"/>
              <a:gd name="connsiteY118" fmla="*/ 146772 h 496091"/>
              <a:gd name="connsiteX119" fmla="*/ 33806 w 540885"/>
              <a:gd name="connsiteY119" fmla="*/ 141137 h 496091"/>
              <a:gd name="connsiteX120" fmla="*/ 56906 w 540885"/>
              <a:gd name="connsiteY120" fmla="*/ 116065 h 496091"/>
              <a:gd name="connsiteX121" fmla="*/ 79161 w 540885"/>
              <a:gd name="connsiteY121" fmla="*/ 99444 h 496091"/>
              <a:gd name="connsiteX122" fmla="*/ 85077 w 540885"/>
              <a:gd name="connsiteY122" fmla="*/ 101416 h 496091"/>
              <a:gd name="connsiteX123" fmla="*/ 117474 w 540885"/>
              <a:gd name="connsiteY123" fmla="*/ 126770 h 496091"/>
              <a:gd name="connsiteX124" fmla="*/ 139165 w 540885"/>
              <a:gd name="connsiteY124" fmla="*/ 117755 h 496091"/>
              <a:gd name="connsiteX125" fmla="*/ 145645 w 540885"/>
              <a:gd name="connsiteY125" fmla="*/ 74372 h 496091"/>
              <a:gd name="connsiteX126" fmla="*/ 154096 w 540885"/>
              <a:gd name="connsiteY126" fmla="*/ 67611 h 496091"/>
              <a:gd name="connsiteX127" fmla="*/ 396649 w 540885"/>
              <a:gd name="connsiteY127" fmla="*/ 0 h 496091"/>
              <a:gd name="connsiteX128" fmla="*/ 409608 w 540885"/>
              <a:gd name="connsiteY128" fmla="*/ 13100 h 496091"/>
              <a:gd name="connsiteX129" fmla="*/ 424257 w 540885"/>
              <a:gd name="connsiteY129" fmla="*/ 32116 h 496091"/>
              <a:gd name="connsiteX130" fmla="*/ 432708 w 540885"/>
              <a:gd name="connsiteY130" fmla="*/ 31552 h 496091"/>
              <a:gd name="connsiteX131" fmla="*/ 441160 w 540885"/>
              <a:gd name="connsiteY131" fmla="*/ 32116 h 496091"/>
              <a:gd name="connsiteX132" fmla="*/ 467077 w 540885"/>
              <a:gd name="connsiteY132" fmla="*/ 564 h 496091"/>
              <a:gd name="connsiteX133" fmla="*/ 468767 w 540885"/>
              <a:gd name="connsiteY133" fmla="*/ 0 h 496091"/>
              <a:gd name="connsiteX134" fmla="*/ 503699 w 540885"/>
              <a:gd name="connsiteY134" fmla="*/ 19720 h 496091"/>
              <a:gd name="connsiteX135" fmla="*/ 504826 w 540885"/>
              <a:gd name="connsiteY135" fmla="*/ 21692 h 496091"/>
              <a:gd name="connsiteX136" fmla="*/ 490459 w 540885"/>
              <a:gd name="connsiteY136" fmla="*/ 60568 h 496091"/>
              <a:gd name="connsiteX137" fmla="*/ 498910 w 540885"/>
              <a:gd name="connsiteY137" fmla="*/ 75217 h 496091"/>
              <a:gd name="connsiteX138" fmla="*/ 540885 w 540885"/>
              <a:gd name="connsiteY138" fmla="*/ 83950 h 496091"/>
              <a:gd name="connsiteX139" fmla="*/ 540885 w 540885"/>
              <a:gd name="connsiteY139" fmla="*/ 123390 h 496091"/>
              <a:gd name="connsiteX140" fmla="*/ 498910 w 540885"/>
              <a:gd name="connsiteY140" fmla="*/ 132123 h 496091"/>
              <a:gd name="connsiteX141" fmla="*/ 490459 w 540885"/>
              <a:gd name="connsiteY141" fmla="*/ 146772 h 496091"/>
              <a:gd name="connsiteX142" fmla="*/ 504826 w 540885"/>
              <a:gd name="connsiteY142" fmla="*/ 185648 h 496091"/>
              <a:gd name="connsiteX143" fmla="*/ 503699 w 540885"/>
              <a:gd name="connsiteY143" fmla="*/ 187619 h 496091"/>
              <a:gd name="connsiteX144" fmla="*/ 468767 w 540885"/>
              <a:gd name="connsiteY144" fmla="*/ 207621 h 496091"/>
              <a:gd name="connsiteX145" fmla="*/ 455809 w 540885"/>
              <a:gd name="connsiteY145" fmla="*/ 194381 h 496091"/>
              <a:gd name="connsiteX146" fmla="*/ 441160 w 540885"/>
              <a:gd name="connsiteY146" fmla="*/ 175224 h 496091"/>
              <a:gd name="connsiteX147" fmla="*/ 432708 w 540885"/>
              <a:gd name="connsiteY147" fmla="*/ 175788 h 496091"/>
              <a:gd name="connsiteX148" fmla="*/ 424257 w 540885"/>
              <a:gd name="connsiteY148" fmla="*/ 175224 h 496091"/>
              <a:gd name="connsiteX149" fmla="*/ 409608 w 540885"/>
              <a:gd name="connsiteY149" fmla="*/ 194381 h 496091"/>
              <a:gd name="connsiteX150" fmla="*/ 396649 w 540885"/>
              <a:gd name="connsiteY150" fmla="*/ 207621 h 496091"/>
              <a:gd name="connsiteX151" fmla="*/ 361717 w 540885"/>
              <a:gd name="connsiteY151" fmla="*/ 187619 h 496091"/>
              <a:gd name="connsiteX152" fmla="*/ 360591 w 540885"/>
              <a:gd name="connsiteY152" fmla="*/ 185648 h 496091"/>
              <a:gd name="connsiteX153" fmla="*/ 374958 w 540885"/>
              <a:gd name="connsiteY153" fmla="*/ 146772 h 496091"/>
              <a:gd name="connsiteX154" fmla="*/ 366507 w 540885"/>
              <a:gd name="connsiteY154" fmla="*/ 132123 h 496091"/>
              <a:gd name="connsiteX155" fmla="*/ 324532 w 540885"/>
              <a:gd name="connsiteY155" fmla="*/ 123390 h 496091"/>
              <a:gd name="connsiteX156" fmla="*/ 324532 w 540885"/>
              <a:gd name="connsiteY156" fmla="*/ 83950 h 496091"/>
              <a:gd name="connsiteX157" fmla="*/ 366507 w 540885"/>
              <a:gd name="connsiteY157" fmla="*/ 75217 h 496091"/>
              <a:gd name="connsiteX158" fmla="*/ 374958 w 540885"/>
              <a:gd name="connsiteY158" fmla="*/ 60568 h 496091"/>
              <a:gd name="connsiteX159" fmla="*/ 360591 w 540885"/>
              <a:gd name="connsiteY159" fmla="*/ 21692 h 496091"/>
              <a:gd name="connsiteX160" fmla="*/ 361717 w 540885"/>
              <a:gd name="connsiteY160" fmla="*/ 19720 h 496091"/>
              <a:gd name="connsiteX161" fmla="*/ 371577 w 540885"/>
              <a:gd name="connsiteY161" fmla="*/ 14086 h 496091"/>
              <a:gd name="connsiteX162" fmla="*/ 388198 w 540885"/>
              <a:gd name="connsiteY162" fmla="*/ 4508 h 496091"/>
              <a:gd name="connsiteX163" fmla="*/ 396649 w 540885"/>
              <a:gd name="connsiteY163" fmla="*/ 0 h 496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540885" h="496091">
                <a:moveTo>
                  <a:pt x="432708" y="356081"/>
                </a:moveTo>
                <a:cubicBezTo>
                  <a:pt x="422942" y="356081"/>
                  <a:pt x="414491" y="359650"/>
                  <a:pt x="407355" y="366786"/>
                </a:cubicBezTo>
                <a:cubicBezTo>
                  <a:pt x="400218" y="373923"/>
                  <a:pt x="396649" y="382375"/>
                  <a:pt x="396649" y="392140"/>
                </a:cubicBezTo>
                <a:cubicBezTo>
                  <a:pt x="396649" y="402094"/>
                  <a:pt x="400171" y="410592"/>
                  <a:pt x="407213" y="417635"/>
                </a:cubicBezTo>
                <a:cubicBezTo>
                  <a:pt x="414257" y="424678"/>
                  <a:pt x="422754" y="428199"/>
                  <a:pt x="432708" y="428199"/>
                </a:cubicBezTo>
                <a:cubicBezTo>
                  <a:pt x="442662" y="428199"/>
                  <a:pt x="451161" y="424678"/>
                  <a:pt x="458203" y="417635"/>
                </a:cubicBezTo>
                <a:cubicBezTo>
                  <a:pt x="465246" y="410592"/>
                  <a:pt x="468767" y="402094"/>
                  <a:pt x="468767" y="392140"/>
                </a:cubicBezTo>
                <a:cubicBezTo>
                  <a:pt x="468767" y="382375"/>
                  <a:pt x="465199" y="373923"/>
                  <a:pt x="458063" y="366786"/>
                </a:cubicBezTo>
                <a:cubicBezTo>
                  <a:pt x="450925" y="359650"/>
                  <a:pt x="442474" y="356081"/>
                  <a:pt x="432708" y="356081"/>
                </a:cubicBezTo>
                <a:close/>
                <a:moveTo>
                  <a:pt x="396649" y="288471"/>
                </a:moveTo>
                <a:cubicBezTo>
                  <a:pt x="398152" y="288471"/>
                  <a:pt x="402471" y="292838"/>
                  <a:pt x="409608" y="301570"/>
                </a:cubicBezTo>
                <a:cubicBezTo>
                  <a:pt x="416744" y="310303"/>
                  <a:pt x="421628" y="316642"/>
                  <a:pt x="424257" y="320586"/>
                </a:cubicBezTo>
                <a:cubicBezTo>
                  <a:pt x="428013" y="320210"/>
                  <a:pt x="430830" y="320023"/>
                  <a:pt x="432708" y="320023"/>
                </a:cubicBezTo>
                <a:cubicBezTo>
                  <a:pt x="434586" y="320023"/>
                  <a:pt x="437403" y="320210"/>
                  <a:pt x="441160" y="320586"/>
                </a:cubicBezTo>
                <a:cubicBezTo>
                  <a:pt x="450738" y="307251"/>
                  <a:pt x="459377" y="296734"/>
                  <a:pt x="467077" y="289034"/>
                </a:cubicBezTo>
                <a:lnTo>
                  <a:pt x="468767" y="288471"/>
                </a:lnTo>
                <a:cubicBezTo>
                  <a:pt x="469518" y="288471"/>
                  <a:pt x="481162" y="295044"/>
                  <a:pt x="503699" y="308190"/>
                </a:cubicBezTo>
                <a:cubicBezTo>
                  <a:pt x="504450" y="308754"/>
                  <a:pt x="504826" y="309412"/>
                  <a:pt x="504826" y="310163"/>
                </a:cubicBezTo>
                <a:cubicBezTo>
                  <a:pt x="504826" y="314858"/>
                  <a:pt x="500037" y="327816"/>
                  <a:pt x="490459" y="349039"/>
                </a:cubicBezTo>
                <a:cubicBezTo>
                  <a:pt x="493651" y="353358"/>
                  <a:pt x="496468" y="358241"/>
                  <a:pt x="498910" y="363688"/>
                </a:cubicBezTo>
                <a:cubicBezTo>
                  <a:pt x="526893" y="366505"/>
                  <a:pt x="540885" y="369416"/>
                  <a:pt x="540885" y="372421"/>
                </a:cubicBezTo>
                <a:lnTo>
                  <a:pt x="540885" y="411860"/>
                </a:lnTo>
                <a:cubicBezTo>
                  <a:pt x="540885" y="414865"/>
                  <a:pt x="526893" y="417776"/>
                  <a:pt x="498910" y="420593"/>
                </a:cubicBezTo>
                <a:cubicBezTo>
                  <a:pt x="496657" y="425664"/>
                  <a:pt x="493839" y="430547"/>
                  <a:pt x="490459" y="435242"/>
                </a:cubicBezTo>
                <a:cubicBezTo>
                  <a:pt x="500037" y="456464"/>
                  <a:pt x="504826" y="469423"/>
                  <a:pt x="504826" y="474118"/>
                </a:cubicBezTo>
                <a:cubicBezTo>
                  <a:pt x="504826" y="474869"/>
                  <a:pt x="504450" y="475527"/>
                  <a:pt x="503699" y="476090"/>
                </a:cubicBezTo>
                <a:cubicBezTo>
                  <a:pt x="480787" y="489424"/>
                  <a:pt x="469143" y="496091"/>
                  <a:pt x="468767" y="496091"/>
                </a:cubicBezTo>
                <a:cubicBezTo>
                  <a:pt x="467265" y="496091"/>
                  <a:pt x="462945" y="491678"/>
                  <a:pt x="455809" y="482851"/>
                </a:cubicBezTo>
                <a:cubicBezTo>
                  <a:pt x="448672" y="474024"/>
                  <a:pt x="443788" y="467639"/>
                  <a:pt x="441160" y="463695"/>
                </a:cubicBezTo>
                <a:cubicBezTo>
                  <a:pt x="437403" y="464070"/>
                  <a:pt x="434586" y="464258"/>
                  <a:pt x="432708" y="464258"/>
                </a:cubicBezTo>
                <a:cubicBezTo>
                  <a:pt x="430830" y="464258"/>
                  <a:pt x="428013" y="464070"/>
                  <a:pt x="424257" y="463695"/>
                </a:cubicBezTo>
                <a:cubicBezTo>
                  <a:pt x="421628" y="467639"/>
                  <a:pt x="416744" y="474024"/>
                  <a:pt x="409608" y="482851"/>
                </a:cubicBezTo>
                <a:cubicBezTo>
                  <a:pt x="402471" y="491678"/>
                  <a:pt x="398152" y="496091"/>
                  <a:pt x="396649" y="496091"/>
                </a:cubicBezTo>
                <a:cubicBezTo>
                  <a:pt x="396274" y="496091"/>
                  <a:pt x="384629" y="489424"/>
                  <a:pt x="361717" y="476090"/>
                </a:cubicBezTo>
                <a:cubicBezTo>
                  <a:pt x="360966" y="475527"/>
                  <a:pt x="360591" y="474869"/>
                  <a:pt x="360591" y="474118"/>
                </a:cubicBezTo>
                <a:cubicBezTo>
                  <a:pt x="360591" y="469423"/>
                  <a:pt x="365380" y="456464"/>
                  <a:pt x="374958" y="435242"/>
                </a:cubicBezTo>
                <a:cubicBezTo>
                  <a:pt x="371577" y="430547"/>
                  <a:pt x="368760" y="425664"/>
                  <a:pt x="366507" y="420593"/>
                </a:cubicBezTo>
                <a:cubicBezTo>
                  <a:pt x="338523" y="417776"/>
                  <a:pt x="324532" y="414865"/>
                  <a:pt x="324532" y="411860"/>
                </a:cubicBezTo>
                <a:lnTo>
                  <a:pt x="324532" y="372421"/>
                </a:lnTo>
                <a:cubicBezTo>
                  <a:pt x="324532" y="369416"/>
                  <a:pt x="338523" y="366505"/>
                  <a:pt x="366507" y="363688"/>
                </a:cubicBezTo>
                <a:cubicBezTo>
                  <a:pt x="368948" y="358241"/>
                  <a:pt x="371765" y="353358"/>
                  <a:pt x="374958" y="349039"/>
                </a:cubicBezTo>
                <a:cubicBezTo>
                  <a:pt x="365380" y="327816"/>
                  <a:pt x="360591" y="314858"/>
                  <a:pt x="360591" y="310163"/>
                </a:cubicBezTo>
                <a:cubicBezTo>
                  <a:pt x="360591" y="309412"/>
                  <a:pt x="360966" y="308754"/>
                  <a:pt x="361717" y="308190"/>
                </a:cubicBezTo>
                <a:cubicBezTo>
                  <a:pt x="362468" y="307815"/>
                  <a:pt x="365755" y="305937"/>
                  <a:pt x="371577" y="302557"/>
                </a:cubicBezTo>
                <a:cubicBezTo>
                  <a:pt x="377399" y="299176"/>
                  <a:pt x="382939" y="295983"/>
                  <a:pt x="388198" y="292978"/>
                </a:cubicBezTo>
                <a:cubicBezTo>
                  <a:pt x="393457" y="289974"/>
                  <a:pt x="396274" y="288471"/>
                  <a:pt x="396649" y="288471"/>
                </a:cubicBezTo>
                <a:close/>
                <a:moveTo>
                  <a:pt x="180295" y="175788"/>
                </a:moveTo>
                <a:cubicBezTo>
                  <a:pt x="160387" y="175788"/>
                  <a:pt x="143391" y="182830"/>
                  <a:pt x="129305" y="196916"/>
                </a:cubicBezTo>
                <a:cubicBezTo>
                  <a:pt x="115220" y="211002"/>
                  <a:pt x="108177" y="227998"/>
                  <a:pt x="108177" y="247906"/>
                </a:cubicBezTo>
                <a:cubicBezTo>
                  <a:pt x="108177" y="267813"/>
                  <a:pt x="115220" y="284810"/>
                  <a:pt x="129305" y="298895"/>
                </a:cubicBezTo>
                <a:cubicBezTo>
                  <a:pt x="143391" y="312981"/>
                  <a:pt x="160387" y="320024"/>
                  <a:pt x="180295" y="320024"/>
                </a:cubicBezTo>
                <a:cubicBezTo>
                  <a:pt x="200202" y="320024"/>
                  <a:pt x="217199" y="312981"/>
                  <a:pt x="231285" y="298895"/>
                </a:cubicBezTo>
                <a:cubicBezTo>
                  <a:pt x="245370" y="284810"/>
                  <a:pt x="252413" y="267813"/>
                  <a:pt x="252413" y="247906"/>
                </a:cubicBezTo>
                <a:cubicBezTo>
                  <a:pt x="252413" y="227998"/>
                  <a:pt x="245370" y="211002"/>
                  <a:pt x="231285" y="196916"/>
                </a:cubicBezTo>
                <a:cubicBezTo>
                  <a:pt x="217199" y="182830"/>
                  <a:pt x="200202" y="175788"/>
                  <a:pt x="180295" y="175788"/>
                </a:cubicBezTo>
                <a:close/>
                <a:moveTo>
                  <a:pt x="432708" y="67611"/>
                </a:moveTo>
                <a:cubicBezTo>
                  <a:pt x="422942" y="67611"/>
                  <a:pt x="414491" y="71179"/>
                  <a:pt x="407355" y="78316"/>
                </a:cubicBezTo>
                <a:cubicBezTo>
                  <a:pt x="400218" y="85453"/>
                  <a:pt x="396649" y="93904"/>
                  <a:pt x="396649" y="103670"/>
                </a:cubicBezTo>
                <a:cubicBezTo>
                  <a:pt x="396649" y="113624"/>
                  <a:pt x="400171" y="122122"/>
                  <a:pt x="407213" y="129165"/>
                </a:cubicBezTo>
                <a:cubicBezTo>
                  <a:pt x="414257" y="136207"/>
                  <a:pt x="422754" y="139729"/>
                  <a:pt x="432708" y="139729"/>
                </a:cubicBezTo>
                <a:cubicBezTo>
                  <a:pt x="442662" y="139729"/>
                  <a:pt x="451161" y="136207"/>
                  <a:pt x="458203" y="129165"/>
                </a:cubicBezTo>
                <a:cubicBezTo>
                  <a:pt x="465246" y="122122"/>
                  <a:pt x="468767" y="113624"/>
                  <a:pt x="468767" y="103670"/>
                </a:cubicBezTo>
                <a:cubicBezTo>
                  <a:pt x="468767" y="93904"/>
                  <a:pt x="465199" y="85453"/>
                  <a:pt x="458063" y="78316"/>
                </a:cubicBezTo>
                <a:cubicBezTo>
                  <a:pt x="450925" y="71179"/>
                  <a:pt x="442474" y="67611"/>
                  <a:pt x="432708" y="67611"/>
                </a:cubicBezTo>
                <a:close/>
                <a:moveTo>
                  <a:pt x="154096" y="67611"/>
                </a:moveTo>
                <a:lnTo>
                  <a:pt x="206494" y="67611"/>
                </a:lnTo>
                <a:cubicBezTo>
                  <a:pt x="208559" y="67611"/>
                  <a:pt x="210438" y="68315"/>
                  <a:pt x="212128" y="69724"/>
                </a:cubicBezTo>
                <a:cubicBezTo>
                  <a:pt x="213818" y="71132"/>
                  <a:pt x="214757" y="72775"/>
                  <a:pt x="214945" y="74654"/>
                </a:cubicBezTo>
                <a:lnTo>
                  <a:pt x="221425" y="117755"/>
                </a:lnTo>
                <a:cubicBezTo>
                  <a:pt x="227810" y="119633"/>
                  <a:pt x="234853" y="122545"/>
                  <a:pt x="242553" y="126488"/>
                </a:cubicBezTo>
                <a:lnTo>
                  <a:pt x="275795" y="101416"/>
                </a:lnTo>
                <a:cubicBezTo>
                  <a:pt x="277297" y="100102"/>
                  <a:pt x="279175" y="99444"/>
                  <a:pt x="281429" y="99444"/>
                </a:cubicBezTo>
                <a:cubicBezTo>
                  <a:pt x="283494" y="99444"/>
                  <a:pt x="285466" y="100195"/>
                  <a:pt x="287345" y="101698"/>
                </a:cubicBezTo>
                <a:cubicBezTo>
                  <a:pt x="314389" y="126676"/>
                  <a:pt x="327911" y="141701"/>
                  <a:pt x="327911" y="146772"/>
                </a:cubicBezTo>
                <a:cubicBezTo>
                  <a:pt x="327911" y="148462"/>
                  <a:pt x="327254" y="150246"/>
                  <a:pt x="325939" y="152124"/>
                </a:cubicBezTo>
                <a:cubicBezTo>
                  <a:pt x="323685" y="155129"/>
                  <a:pt x="319742" y="160200"/>
                  <a:pt x="314108" y="167337"/>
                </a:cubicBezTo>
                <a:cubicBezTo>
                  <a:pt x="308473" y="174473"/>
                  <a:pt x="304248" y="180107"/>
                  <a:pt x="301430" y="184239"/>
                </a:cubicBezTo>
                <a:cubicBezTo>
                  <a:pt x="305749" y="193254"/>
                  <a:pt x="308942" y="200954"/>
                  <a:pt x="311008" y="207339"/>
                </a:cubicBezTo>
                <a:lnTo>
                  <a:pt x="353828" y="213819"/>
                </a:lnTo>
                <a:cubicBezTo>
                  <a:pt x="355706" y="214194"/>
                  <a:pt x="357303" y="215180"/>
                  <a:pt x="358618" y="216777"/>
                </a:cubicBezTo>
                <a:cubicBezTo>
                  <a:pt x="359932" y="218373"/>
                  <a:pt x="360590" y="220204"/>
                  <a:pt x="360590" y="222270"/>
                </a:cubicBezTo>
                <a:lnTo>
                  <a:pt x="360590" y="274386"/>
                </a:lnTo>
                <a:cubicBezTo>
                  <a:pt x="360590" y="276265"/>
                  <a:pt x="359932" y="278095"/>
                  <a:pt x="358618" y="279880"/>
                </a:cubicBezTo>
                <a:cubicBezTo>
                  <a:pt x="357303" y="281664"/>
                  <a:pt x="355800" y="282650"/>
                  <a:pt x="354110" y="282838"/>
                </a:cubicBezTo>
                <a:lnTo>
                  <a:pt x="310445" y="289599"/>
                </a:lnTo>
                <a:cubicBezTo>
                  <a:pt x="308379" y="296172"/>
                  <a:pt x="305374" y="303309"/>
                  <a:pt x="301430" y="311009"/>
                </a:cubicBezTo>
                <a:cubicBezTo>
                  <a:pt x="307816" y="320024"/>
                  <a:pt x="316267" y="330822"/>
                  <a:pt x="326784" y="343405"/>
                </a:cubicBezTo>
                <a:cubicBezTo>
                  <a:pt x="328099" y="345283"/>
                  <a:pt x="328756" y="347161"/>
                  <a:pt x="328756" y="349040"/>
                </a:cubicBezTo>
                <a:cubicBezTo>
                  <a:pt x="328756" y="351293"/>
                  <a:pt x="328099" y="353077"/>
                  <a:pt x="326784" y="354392"/>
                </a:cubicBezTo>
                <a:cubicBezTo>
                  <a:pt x="322465" y="360026"/>
                  <a:pt x="314717" y="368431"/>
                  <a:pt x="303543" y="379605"/>
                </a:cubicBezTo>
                <a:cubicBezTo>
                  <a:pt x="292368" y="390780"/>
                  <a:pt x="284997" y="396367"/>
                  <a:pt x="281429" y="396367"/>
                </a:cubicBezTo>
                <a:cubicBezTo>
                  <a:pt x="279363" y="396367"/>
                  <a:pt x="277391" y="395710"/>
                  <a:pt x="275513" y="394395"/>
                </a:cubicBezTo>
                <a:lnTo>
                  <a:pt x="243117" y="369041"/>
                </a:lnTo>
                <a:cubicBezTo>
                  <a:pt x="236167" y="372609"/>
                  <a:pt x="228937" y="375520"/>
                  <a:pt x="221425" y="377774"/>
                </a:cubicBezTo>
                <a:cubicBezTo>
                  <a:pt x="219359" y="398057"/>
                  <a:pt x="217199" y="412612"/>
                  <a:pt x="214945" y="421439"/>
                </a:cubicBezTo>
                <a:cubicBezTo>
                  <a:pt x="213630" y="425947"/>
                  <a:pt x="210813" y="428200"/>
                  <a:pt x="206494" y="428200"/>
                </a:cubicBezTo>
                <a:lnTo>
                  <a:pt x="154096" y="428200"/>
                </a:lnTo>
                <a:cubicBezTo>
                  <a:pt x="152030" y="428200"/>
                  <a:pt x="150152" y="427496"/>
                  <a:pt x="148462" y="426087"/>
                </a:cubicBezTo>
                <a:cubicBezTo>
                  <a:pt x="146771" y="424679"/>
                  <a:pt x="145832" y="423035"/>
                  <a:pt x="145645" y="421158"/>
                </a:cubicBezTo>
                <a:lnTo>
                  <a:pt x="139165" y="378056"/>
                </a:lnTo>
                <a:cubicBezTo>
                  <a:pt x="132779" y="376178"/>
                  <a:pt x="125737" y="373267"/>
                  <a:pt x="118037" y="369323"/>
                </a:cubicBezTo>
                <a:lnTo>
                  <a:pt x="84795" y="394395"/>
                </a:lnTo>
                <a:cubicBezTo>
                  <a:pt x="83480" y="395710"/>
                  <a:pt x="81602" y="396367"/>
                  <a:pt x="79161" y="396367"/>
                </a:cubicBezTo>
                <a:cubicBezTo>
                  <a:pt x="77095" y="396367"/>
                  <a:pt x="75123" y="395616"/>
                  <a:pt x="73245" y="394113"/>
                </a:cubicBezTo>
                <a:cubicBezTo>
                  <a:pt x="46201" y="369135"/>
                  <a:pt x="32679" y="354110"/>
                  <a:pt x="32679" y="349040"/>
                </a:cubicBezTo>
                <a:cubicBezTo>
                  <a:pt x="32679" y="347349"/>
                  <a:pt x="33336" y="345565"/>
                  <a:pt x="34651" y="343687"/>
                </a:cubicBezTo>
                <a:cubicBezTo>
                  <a:pt x="36529" y="341058"/>
                  <a:pt x="40378" y="336081"/>
                  <a:pt x="46201" y="328756"/>
                </a:cubicBezTo>
                <a:cubicBezTo>
                  <a:pt x="52022" y="321432"/>
                  <a:pt x="56436" y="315704"/>
                  <a:pt x="59441" y="311572"/>
                </a:cubicBezTo>
                <a:cubicBezTo>
                  <a:pt x="55122" y="303309"/>
                  <a:pt x="51835" y="295608"/>
                  <a:pt x="49581" y="288472"/>
                </a:cubicBezTo>
                <a:lnTo>
                  <a:pt x="6761" y="281711"/>
                </a:lnTo>
                <a:cubicBezTo>
                  <a:pt x="4883" y="281523"/>
                  <a:pt x="3286" y="280631"/>
                  <a:pt x="1972" y="279034"/>
                </a:cubicBezTo>
                <a:cubicBezTo>
                  <a:pt x="657" y="277438"/>
                  <a:pt x="0" y="275607"/>
                  <a:pt x="0" y="273541"/>
                </a:cubicBezTo>
                <a:lnTo>
                  <a:pt x="0" y="221425"/>
                </a:lnTo>
                <a:cubicBezTo>
                  <a:pt x="0" y="219547"/>
                  <a:pt x="657" y="217715"/>
                  <a:pt x="1972" y="215932"/>
                </a:cubicBezTo>
                <a:cubicBezTo>
                  <a:pt x="3286" y="214147"/>
                  <a:pt x="4789" y="213161"/>
                  <a:pt x="6480" y="212973"/>
                </a:cubicBezTo>
                <a:lnTo>
                  <a:pt x="50145" y="206213"/>
                </a:lnTo>
                <a:cubicBezTo>
                  <a:pt x="52210" y="199639"/>
                  <a:pt x="55215" y="192503"/>
                  <a:pt x="59159" y="184802"/>
                </a:cubicBezTo>
                <a:cubicBezTo>
                  <a:pt x="52774" y="175788"/>
                  <a:pt x="44322" y="164989"/>
                  <a:pt x="33806" y="152406"/>
                </a:cubicBezTo>
                <a:cubicBezTo>
                  <a:pt x="32490" y="150340"/>
                  <a:pt x="31834" y="148462"/>
                  <a:pt x="31834" y="146772"/>
                </a:cubicBezTo>
                <a:cubicBezTo>
                  <a:pt x="31834" y="144518"/>
                  <a:pt x="32490" y="142640"/>
                  <a:pt x="33806" y="141137"/>
                </a:cubicBezTo>
                <a:cubicBezTo>
                  <a:pt x="37937" y="135503"/>
                  <a:pt x="45637" y="127146"/>
                  <a:pt x="56906" y="116065"/>
                </a:cubicBezTo>
                <a:cubicBezTo>
                  <a:pt x="68174" y="104984"/>
                  <a:pt x="75592" y="99444"/>
                  <a:pt x="79161" y="99444"/>
                </a:cubicBezTo>
                <a:cubicBezTo>
                  <a:pt x="81226" y="99444"/>
                  <a:pt x="83198" y="100102"/>
                  <a:pt x="85077" y="101416"/>
                </a:cubicBezTo>
                <a:lnTo>
                  <a:pt x="117474" y="126770"/>
                </a:lnTo>
                <a:cubicBezTo>
                  <a:pt x="123859" y="123390"/>
                  <a:pt x="131089" y="120385"/>
                  <a:pt x="139165" y="117755"/>
                </a:cubicBezTo>
                <a:cubicBezTo>
                  <a:pt x="141231" y="97472"/>
                  <a:pt x="143391" y="83011"/>
                  <a:pt x="145645" y="74372"/>
                </a:cubicBezTo>
                <a:cubicBezTo>
                  <a:pt x="146959" y="69865"/>
                  <a:pt x="149776" y="67611"/>
                  <a:pt x="154096" y="67611"/>
                </a:cubicBezTo>
                <a:close/>
                <a:moveTo>
                  <a:pt x="396649" y="0"/>
                </a:moveTo>
                <a:cubicBezTo>
                  <a:pt x="398152" y="0"/>
                  <a:pt x="402471" y="4367"/>
                  <a:pt x="409608" y="13100"/>
                </a:cubicBezTo>
                <a:cubicBezTo>
                  <a:pt x="416744" y="21833"/>
                  <a:pt x="421628" y="28171"/>
                  <a:pt x="424257" y="32116"/>
                </a:cubicBezTo>
                <a:cubicBezTo>
                  <a:pt x="428013" y="31740"/>
                  <a:pt x="430830" y="31552"/>
                  <a:pt x="432708" y="31552"/>
                </a:cubicBezTo>
                <a:cubicBezTo>
                  <a:pt x="434586" y="31552"/>
                  <a:pt x="437403" y="31740"/>
                  <a:pt x="441160" y="32116"/>
                </a:cubicBezTo>
                <a:cubicBezTo>
                  <a:pt x="450738" y="18781"/>
                  <a:pt x="459377" y="8264"/>
                  <a:pt x="467077" y="564"/>
                </a:cubicBezTo>
                <a:lnTo>
                  <a:pt x="468767" y="0"/>
                </a:lnTo>
                <a:cubicBezTo>
                  <a:pt x="469518" y="0"/>
                  <a:pt x="481162" y="6574"/>
                  <a:pt x="503699" y="19720"/>
                </a:cubicBezTo>
                <a:cubicBezTo>
                  <a:pt x="504450" y="20284"/>
                  <a:pt x="504826" y="20941"/>
                  <a:pt x="504826" y="21692"/>
                </a:cubicBezTo>
                <a:cubicBezTo>
                  <a:pt x="504826" y="26387"/>
                  <a:pt x="500037" y="39346"/>
                  <a:pt x="490459" y="60568"/>
                </a:cubicBezTo>
                <a:cubicBezTo>
                  <a:pt x="493651" y="64888"/>
                  <a:pt x="496468" y="69771"/>
                  <a:pt x="498910" y="75217"/>
                </a:cubicBezTo>
                <a:cubicBezTo>
                  <a:pt x="526893" y="78034"/>
                  <a:pt x="540885" y="80945"/>
                  <a:pt x="540885" y="83950"/>
                </a:cubicBezTo>
                <a:lnTo>
                  <a:pt x="540885" y="123390"/>
                </a:lnTo>
                <a:cubicBezTo>
                  <a:pt x="540885" y="126395"/>
                  <a:pt x="526893" y="129305"/>
                  <a:pt x="498910" y="132123"/>
                </a:cubicBezTo>
                <a:cubicBezTo>
                  <a:pt x="496657" y="137194"/>
                  <a:pt x="493839" y="142076"/>
                  <a:pt x="490459" y="146772"/>
                </a:cubicBezTo>
                <a:cubicBezTo>
                  <a:pt x="500037" y="167994"/>
                  <a:pt x="504826" y="180952"/>
                  <a:pt x="504826" y="185648"/>
                </a:cubicBezTo>
                <a:cubicBezTo>
                  <a:pt x="504826" y="186399"/>
                  <a:pt x="504450" y="187056"/>
                  <a:pt x="503699" y="187619"/>
                </a:cubicBezTo>
                <a:cubicBezTo>
                  <a:pt x="480787" y="200954"/>
                  <a:pt x="469143" y="207621"/>
                  <a:pt x="468767" y="207621"/>
                </a:cubicBezTo>
                <a:cubicBezTo>
                  <a:pt x="467265" y="207621"/>
                  <a:pt x="462945" y="203207"/>
                  <a:pt x="455809" y="194381"/>
                </a:cubicBezTo>
                <a:cubicBezTo>
                  <a:pt x="448672" y="185554"/>
                  <a:pt x="443788" y="179168"/>
                  <a:pt x="441160" y="175224"/>
                </a:cubicBezTo>
                <a:cubicBezTo>
                  <a:pt x="437403" y="175600"/>
                  <a:pt x="434586" y="175788"/>
                  <a:pt x="432708" y="175788"/>
                </a:cubicBezTo>
                <a:cubicBezTo>
                  <a:pt x="430830" y="175788"/>
                  <a:pt x="428013" y="175600"/>
                  <a:pt x="424257" y="175224"/>
                </a:cubicBezTo>
                <a:cubicBezTo>
                  <a:pt x="421628" y="179168"/>
                  <a:pt x="416744" y="185554"/>
                  <a:pt x="409608" y="194381"/>
                </a:cubicBezTo>
                <a:cubicBezTo>
                  <a:pt x="402471" y="203207"/>
                  <a:pt x="398152" y="207621"/>
                  <a:pt x="396649" y="207621"/>
                </a:cubicBezTo>
                <a:cubicBezTo>
                  <a:pt x="396274" y="207621"/>
                  <a:pt x="384629" y="200954"/>
                  <a:pt x="361717" y="187619"/>
                </a:cubicBezTo>
                <a:cubicBezTo>
                  <a:pt x="360966" y="187056"/>
                  <a:pt x="360591" y="186399"/>
                  <a:pt x="360591" y="185648"/>
                </a:cubicBezTo>
                <a:cubicBezTo>
                  <a:pt x="360591" y="180952"/>
                  <a:pt x="365380" y="167994"/>
                  <a:pt x="374958" y="146772"/>
                </a:cubicBezTo>
                <a:cubicBezTo>
                  <a:pt x="371577" y="142076"/>
                  <a:pt x="368760" y="137194"/>
                  <a:pt x="366507" y="132123"/>
                </a:cubicBezTo>
                <a:cubicBezTo>
                  <a:pt x="338523" y="129305"/>
                  <a:pt x="324532" y="126395"/>
                  <a:pt x="324532" y="123390"/>
                </a:cubicBezTo>
                <a:lnTo>
                  <a:pt x="324532" y="83950"/>
                </a:lnTo>
                <a:cubicBezTo>
                  <a:pt x="324532" y="80945"/>
                  <a:pt x="338523" y="78034"/>
                  <a:pt x="366507" y="75217"/>
                </a:cubicBezTo>
                <a:cubicBezTo>
                  <a:pt x="368948" y="69771"/>
                  <a:pt x="371765" y="64888"/>
                  <a:pt x="374958" y="60568"/>
                </a:cubicBezTo>
                <a:cubicBezTo>
                  <a:pt x="365380" y="39346"/>
                  <a:pt x="360591" y="26387"/>
                  <a:pt x="360591" y="21692"/>
                </a:cubicBezTo>
                <a:cubicBezTo>
                  <a:pt x="360591" y="20941"/>
                  <a:pt x="360966" y="20284"/>
                  <a:pt x="361717" y="19720"/>
                </a:cubicBezTo>
                <a:cubicBezTo>
                  <a:pt x="362468" y="19345"/>
                  <a:pt x="365755" y="17467"/>
                  <a:pt x="371577" y="14086"/>
                </a:cubicBezTo>
                <a:cubicBezTo>
                  <a:pt x="377399" y="10705"/>
                  <a:pt x="382939" y="7513"/>
                  <a:pt x="388198" y="4508"/>
                </a:cubicBezTo>
                <a:cubicBezTo>
                  <a:pt x="393457" y="1503"/>
                  <a:pt x="396274" y="0"/>
                  <a:pt x="396649" y="0"/>
                </a:cubicBezTo>
                <a:close/>
              </a:path>
            </a:pathLst>
          </a:custGeom>
          <a:solidFill>
            <a:srgbClr val="000000"/>
          </a:soli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309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rgbClr val="E6002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58" name="Group 4"/>
          <p:cNvGrpSpPr>
            <a:grpSpLocks noChangeAspect="1"/>
          </p:cNvGrpSpPr>
          <p:nvPr/>
        </p:nvGrpSpPr>
        <p:grpSpPr bwMode="auto">
          <a:xfrm>
            <a:off x="2941253" y="3088767"/>
            <a:ext cx="482662" cy="308613"/>
            <a:chOff x="1944" y="1626"/>
            <a:chExt cx="330" cy="211"/>
          </a:xfrm>
          <a:solidFill>
            <a:schemeClr val="bg1">
              <a:lumMod val="50000"/>
            </a:schemeClr>
          </a:solidFill>
        </p:grpSpPr>
        <p:sp>
          <p:nvSpPr>
            <p:cNvPr id="59" name="Freeform 5"/>
            <p:cNvSpPr>
              <a:spLocks noEditPoints="1"/>
            </p:cNvSpPr>
            <p:nvPr/>
          </p:nvSpPr>
          <p:spPr bwMode="auto">
            <a:xfrm>
              <a:off x="1944" y="1626"/>
              <a:ext cx="330" cy="211"/>
            </a:xfrm>
            <a:custGeom>
              <a:avLst/>
              <a:gdLst/>
              <a:ahLst/>
              <a:cxnLst>
                <a:cxn ang="0">
                  <a:pos x="398" y="178"/>
                </a:cxn>
                <a:cxn ang="0">
                  <a:pos x="358" y="37"/>
                </a:cxn>
                <a:cxn ang="0">
                  <a:pos x="291" y="19"/>
                </a:cxn>
                <a:cxn ang="0">
                  <a:pos x="151" y="82"/>
                </a:cxn>
                <a:cxn ang="0">
                  <a:pos x="169" y="110"/>
                </a:cxn>
                <a:cxn ang="0">
                  <a:pos x="276" y="98"/>
                </a:cxn>
                <a:cxn ang="0">
                  <a:pos x="375" y="206"/>
                </a:cxn>
                <a:cxn ang="0">
                  <a:pos x="466" y="117"/>
                </a:cxn>
                <a:cxn ang="0">
                  <a:pos x="383" y="12"/>
                </a:cxn>
                <a:cxn ang="0">
                  <a:pos x="423" y="131"/>
                </a:cxn>
                <a:cxn ang="0">
                  <a:pos x="472" y="130"/>
                </a:cxn>
                <a:cxn ang="0">
                  <a:pos x="69" y="7"/>
                </a:cxn>
                <a:cxn ang="0">
                  <a:pos x="45" y="10"/>
                </a:cxn>
                <a:cxn ang="0">
                  <a:pos x="7" y="142"/>
                </a:cxn>
                <a:cxn ang="0">
                  <a:pos x="40" y="139"/>
                </a:cxn>
                <a:cxn ang="0">
                  <a:pos x="84" y="23"/>
                </a:cxn>
                <a:cxn ang="0">
                  <a:pos x="370" y="221"/>
                </a:cxn>
                <a:cxn ang="0">
                  <a:pos x="307" y="189"/>
                </a:cxn>
                <a:cxn ang="0">
                  <a:pos x="300" y="196"/>
                </a:cxn>
                <a:cxn ang="0">
                  <a:pos x="323" y="255"/>
                </a:cxn>
                <a:cxn ang="0">
                  <a:pos x="274" y="221"/>
                </a:cxn>
                <a:cxn ang="0">
                  <a:pos x="253" y="207"/>
                </a:cxn>
                <a:cxn ang="0">
                  <a:pos x="283" y="248"/>
                </a:cxn>
                <a:cxn ang="0">
                  <a:pos x="263" y="291"/>
                </a:cxn>
                <a:cxn ang="0">
                  <a:pos x="343" y="242"/>
                </a:cxn>
                <a:cxn ang="0">
                  <a:pos x="95" y="187"/>
                </a:cxn>
                <a:cxn ang="0">
                  <a:pos x="86" y="172"/>
                </a:cxn>
                <a:cxn ang="0">
                  <a:pos x="107" y="32"/>
                </a:cxn>
                <a:cxn ang="0">
                  <a:pos x="213" y="20"/>
                </a:cxn>
                <a:cxn ang="0">
                  <a:pos x="182" y="13"/>
                </a:cxn>
                <a:cxn ang="0">
                  <a:pos x="118" y="26"/>
                </a:cxn>
                <a:cxn ang="0">
                  <a:pos x="57" y="137"/>
                </a:cxn>
                <a:cxn ang="0">
                  <a:pos x="86" y="185"/>
                </a:cxn>
                <a:cxn ang="0">
                  <a:pos x="235" y="233"/>
                </a:cxn>
                <a:cxn ang="0">
                  <a:pos x="172" y="252"/>
                </a:cxn>
                <a:cxn ang="0">
                  <a:pos x="191" y="278"/>
                </a:cxn>
                <a:cxn ang="0">
                  <a:pos x="235" y="233"/>
                </a:cxn>
                <a:cxn ang="0">
                  <a:pos x="158" y="249"/>
                </a:cxn>
                <a:cxn ang="0">
                  <a:pos x="188" y="195"/>
                </a:cxn>
                <a:cxn ang="0">
                  <a:pos x="142" y="219"/>
                </a:cxn>
                <a:cxn ang="0">
                  <a:pos x="258" y="267"/>
                </a:cxn>
                <a:cxn ang="0">
                  <a:pos x="232" y="257"/>
                </a:cxn>
                <a:cxn ang="0">
                  <a:pos x="215" y="296"/>
                </a:cxn>
                <a:cxn ang="0">
                  <a:pos x="258" y="267"/>
                </a:cxn>
                <a:cxn ang="0">
                  <a:pos x="112" y="227"/>
                </a:cxn>
                <a:cxn ang="0">
                  <a:pos x="119" y="188"/>
                </a:cxn>
              </a:cxnLst>
              <a:rect l="0" t="0" r="r" b="b"/>
              <a:pathLst>
                <a:path w="472" h="302">
                  <a:moveTo>
                    <a:pt x="375" y="206"/>
                  </a:moveTo>
                  <a:cubicBezTo>
                    <a:pt x="383" y="195"/>
                    <a:pt x="390" y="186"/>
                    <a:pt x="398" y="178"/>
                  </a:cubicBezTo>
                  <a:cubicBezTo>
                    <a:pt x="419" y="154"/>
                    <a:pt x="419" y="154"/>
                    <a:pt x="404" y="125"/>
                  </a:cubicBezTo>
                  <a:cubicBezTo>
                    <a:pt x="389" y="96"/>
                    <a:pt x="374" y="67"/>
                    <a:pt x="358" y="37"/>
                  </a:cubicBezTo>
                  <a:cubicBezTo>
                    <a:pt x="341" y="48"/>
                    <a:pt x="327" y="42"/>
                    <a:pt x="313" y="32"/>
                  </a:cubicBezTo>
                  <a:cubicBezTo>
                    <a:pt x="307" y="27"/>
                    <a:pt x="299" y="23"/>
                    <a:pt x="291" y="19"/>
                  </a:cubicBezTo>
                  <a:cubicBezTo>
                    <a:pt x="277" y="12"/>
                    <a:pt x="261" y="10"/>
                    <a:pt x="247" y="18"/>
                  </a:cubicBezTo>
                  <a:cubicBezTo>
                    <a:pt x="214" y="39"/>
                    <a:pt x="182" y="60"/>
                    <a:pt x="151" y="82"/>
                  </a:cubicBezTo>
                  <a:cubicBezTo>
                    <a:pt x="142" y="88"/>
                    <a:pt x="139" y="97"/>
                    <a:pt x="145" y="107"/>
                  </a:cubicBezTo>
                  <a:cubicBezTo>
                    <a:pt x="152" y="117"/>
                    <a:pt x="161" y="114"/>
                    <a:pt x="169" y="110"/>
                  </a:cubicBezTo>
                  <a:cubicBezTo>
                    <a:pt x="184" y="103"/>
                    <a:pt x="199" y="96"/>
                    <a:pt x="214" y="88"/>
                  </a:cubicBezTo>
                  <a:cubicBezTo>
                    <a:pt x="249" y="69"/>
                    <a:pt x="249" y="69"/>
                    <a:pt x="276" y="98"/>
                  </a:cubicBezTo>
                  <a:cubicBezTo>
                    <a:pt x="280" y="102"/>
                    <a:pt x="284" y="106"/>
                    <a:pt x="288" y="110"/>
                  </a:cubicBezTo>
                  <a:cubicBezTo>
                    <a:pt x="315" y="140"/>
                    <a:pt x="342" y="171"/>
                    <a:pt x="375" y="206"/>
                  </a:cubicBezTo>
                  <a:close/>
                  <a:moveTo>
                    <a:pt x="472" y="130"/>
                  </a:moveTo>
                  <a:cubicBezTo>
                    <a:pt x="469" y="124"/>
                    <a:pt x="468" y="121"/>
                    <a:pt x="466" y="117"/>
                  </a:cubicBezTo>
                  <a:cubicBezTo>
                    <a:pt x="449" y="85"/>
                    <a:pt x="433" y="53"/>
                    <a:pt x="416" y="22"/>
                  </a:cubicBezTo>
                  <a:cubicBezTo>
                    <a:pt x="405" y="0"/>
                    <a:pt x="405" y="0"/>
                    <a:pt x="383" y="12"/>
                  </a:cubicBezTo>
                  <a:cubicBezTo>
                    <a:pt x="367" y="20"/>
                    <a:pt x="367" y="21"/>
                    <a:pt x="376" y="38"/>
                  </a:cubicBezTo>
                  <a:cubicBezTo>
                    <a:pt x="392" y="69"/>
                    <a:pt x="408" y="100"/>
                    <a:pt x="423" y="131"/>
                  </a:cubicBezTo>
                  <a:cubicBezTo>
                    <a:pt x="435" y="153"/>
                    <a:pt x="436" y="154"/>
                    <a:pt x="458" y="141"/>
                  </a:cubicBezTo>
                  <a:cubicBezTo>
                    <a:pt x="463" y="138"/>
                    <a:pt x="467" y="134"/>
                    <a:pt x="472" y="130"/>
                  </a:cubicBezTo>
                  <a:close/>
                  <a:moveTo>
                    <a:pt x="84" y="23"/>
                  </a:moveTo>
                  <a:cubicBezTo>
                    <a:pt x="86" y="9"/>
                    <a:pt x="76" y="8"/>
                    <a:pt x="69" y="7"/>
                  </a:cubicBezTo>
                  <a:cubicBezTo>
                    <a:pt x="62" y="5"/>
                    <a:pt x="54" y="7"/>
                    <a:pt x="46" y="7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30" y="49"/>
                    <a:pt x="15" y="89"/>
                    <a:pt x="1" y="129"/>
                  </a:cubicBezTo>
                  <a:cubicBezTo>
                    <a:pt x="0" y="132"/>
                    <a:pt x="3" y="139"/>
                    <a:pt x="7" y="142"/>
                  </a:cubicBezTo>
                  <a:cubicBezTo>
                    <a:pt x="11" y="145"/>
                    <a:pt x="17" y="145"/>
                    <a:pt x="22" y="147"/>
                  </a:cubicBezTo>
                  <a:cubicBezTo>
                    <a:pt x="31" y="151"/>
                    <a:pt x="37" y="149"/>
                    <a:pt x="40" y="139"/>
                  </a:cubicBezTo>
                  <a:cubicBezTo>
                    <a:pt x="47" y="121"/>
                    <a:pt x="54" y="104"/>
                    <a:pt x="60" y="87"/>
                  </a:cubicBezTo>
                  <a:cubicBezTo>
                    <a:pt x="68" y="65"/>
                    <a:pt x="76" y="43"/>
                    <a:pt x="84" y="23"/>
                  </a:cubicBezTo>
                  <a:close/>
                  <a:moveTo>
                    <a:pt x="378" y="213"/>
                  </a:moveTo>
                  <a:cubicBezTo>
                    <a:pt x="375" y="216"/>
                    <a:pt x="372" y="218"/>
                    <a:pt x="370" y="221"/>
                  </a:cubicBezTo>
                  <a:cubicBezTo>
                    <a:pt x="358" y="236"/>
                    <a:pt x="350" y="236"/>
                    <a:pt x="337" y="222"/>
                  </a:cubicBezTo>
                  <a:cubicBezTo>
                    <a:pt x="327" y="211"/>
                    <a:pt x="317" y="199"/>
                    <a:pt x="307" y="189"/>
                  </a:cubicBezTo>
                  <a:cubicBezTo>
                    <a:pt x="302" y="184"/>
                    <a:pt x="296" y="182"/>
                    <a:pt x="290" y="178"/>
                  </a:cubicBezTo>
                  <a:cubicBezTo>
                    <a:pt x="293" y="184"/>
                    <a:pt x="296" y="191"/>
                    <a:pt x="300" y="196"/>
                  </a:cubicBezTo>
                  <a:cubicBezTo>
                    <a:pt x="308" y="207"/>
                    <a:pt x="319" y="217"/>
                    <a:pt x="327" y="228"/>
                  </a:cubicBezTo>
                  <a:cubicBezTo>
                    <a:pt x="334" y="237"/>
                    <a:pt x="333" y="247"/>
                    <a:pt x="323" y="255"/>
                  </a:cubicBezTo>
                  <a:cubicBezTo>
                    <a:pt x="315" y="261"/>
                    <a:pt x="306" y="258"/>
                    <a:pt x="300" y="250"/>
                  </a:cubicBezTo>
                  <a:cubicBezTo>
                    <a:pt x="291" y="241"/>
                    <a:pt x="283" y="231"/>
                    <a:pt x="274" y="221"/>
                  </a:cubicBezTo>
                  <a:cubicBezTo>
                    <a:pt x="268" y="215"/>
                    <a:pt x="263" y="210"/>
                    <a:pt x="257" y="204"/>
                  </a:cubicBezTo>
                  <a:cubicBezTo>
                    <a:pt x="256" y="205"/>
                    <a:pt x="254" y="206"/>
                    <a:pt x="253" y="207"/>
                  </a:cubicBezTo>
                  <a:cubicBezTo>
                    <a:pt x="255" y="211"/>
                    <a:pt x="256" y="216"/>
                    <a:pt x="259" y="220"/>
                  </a:cubicBezTo>
                  <a:cubicBezTo>
                    <a:pt x="267" y="230"/>
                    <a:pt x="275" y="239"/>
                    <a:pt x="283" y="248"/>
                  </a:cubicBezTo>
                  <a:cubicBezTo>
                    <a:pt x="296" y="263"/>
                    <a:pt x="291" y="278"/>
                    <a:pt x="272" y="283"/>
                  </a:cubicBezTo>
                  <a:cubicBezTo>
                    <a:pt x="269" y="284"/>
                    <a:pt x="267" y="287"/>
                    <a:pt x="263" y="291"/>
                  </a:cubicBezTo>
                  <a:cubicBezTo>
                    <a:pt x="285" y="294"/>
                    <a:pt x="290" y="291"/>
                    <a:pt x="301" y="267"/>
                  </a:cubicBezTo>
                  <a:cubicBezTo>
                    <a:pt x="326" y="269"/>
                    <a:pt x="330" y="267"/>
                    <a:pt x="343" y="242"/>
                  </a:cubicBezTo>
                  <a:cubicBezTo>
                    <a:pt x="369" y="243"/>
                    <a:pt x="379" y="236"/>
                    <a:pt x="378" y="213"/>
                  </a:cubicBezTo>
                  <a:close/>
                  <a:moveTo>
                    <a:pt x="95" y="187"/>
                  </a:moveTo>
                  <a:cubicBezTo>
                    <a:pt x="95" y="185"/>
                    <a:pt x="95" y="184"/>
                    <a:pt x="96" y="183"/>
                  </a:cubicBezTo>
                  <a:cubicBezTo>
                    <a:pt x="92" y="179"/>
                    <a:pt x="90" y="174"/>
                    <a:pt x="86" y="172"/>
                  </a:cubicBezTo>
                  <a:cubicBezTo>
                    <a:pt x="64" y="156"/>
                    <a:pt x="63" y="138"/>
                    <a:pt x="75" y="115"/>
                  </a:cubicBezTo>
                  <a:cubicBezTo>
                    <a:pt x="88" y="89"/>
                    <a:pt x="96" y="60"/>
                    <a:pt x="107" y="32"/>
                  </a:cubicBezTo>
                  <a:cubicBezTo>
                    <a:pt x="136" y="46"/>
                    <a:pt x="141" y="46"/>
                    <a:pt x="170" y="31"/>
                  </a:cubicBezTo>
                  <a:cubicBezTo>
                    <a:pt x="183" y="23"/>
                    <a:pt x="197" y="16"/>
                    <a:pt x="213" y="20"/>
                  </a:cubicBezTo>
                  <a:cubicBezTo>
                    <a:pt x="215" y="20"/>
                    <a:pt x="217" y="18"/>
                    <a:pt x="221" y="17"/>
                  </a:cubicBezTo>
                  <a:cubicBezTo>
                    <a:pt x="208" y="5"/>
                    <a:pt x="195" y="8"/>
                    <a:pt x="182" y="13"/>
                  </a:cubicBezTo>
                  <a:cubicBezTo>
                    <a:pt x="172" y="17"/>
                    <a:pt x="162" y="24"/>
                    <a:pt x="151" y="29"/>
                  </a:cubicBezTo>
                  <a:cubicBezTo>
                    <a:pt x="140" y="34"/>
                    <a:pt x="129" y="34"/>
                    <a:pt x="118" y="26"/>
                  </a:cubicBezTo>
                  <a:cubicBezTo>
                    <a:pt x="107" y="17"/>
                    <a:pt x="102" y="18"/>
                    <a:pt x="97" y="31"/>
                  </a:cubicBezTo>
                  <a:cubicBezTo>
                    <a:pt x="84" y="66"/>
                    <a:pt x="70" y="102"/>
                    <a:pt x="57" y="137"/>
                  </a:cubicBezTo>
                  <a:cubicBezTo>
                    <a:pt x="56" y="142"/>
                    <a:pt x="55" y="150"/>
                    <a:pt x="58" y="154"/>
                  </a:cubicBezTo>
                  <a:cubicBezTo>
                    <a:pt x="66" y="165"/>
                    <a:pt x="76" y="175"/>
                    <a:pt x="86" y="185"/>
                  </a:cubicBezTo>
                  <a:cubicBezTo>
                    <a:pt x="88" y="187"/>
                    <a:pt x="92" y="186"/>
                    <a:pt x="95" y="187"/>
                  </a:cubicBezTo>
                  <a:close/>
                  <a:moveTo>
                    <a:pt x="235" y="233"/>
                  </a:moveTo>
                  <a:cubicBezTo>
                    <a:pt x="235" y="218"/>
                    <a:pt x="222" y="208"/>
                    <a:pt x="212" y="215"/>
                  </a:cubicBezTo>
                  <a:cubicBezTo>
                    <a:pt x="198" y="226"/>
                    <a:pt x="184" y="238"/>
                    <a:pt x="172" y="252"/>
                  </a:cubicBezTo>
                  <a:cubicBezTo>
                    <a:pt x="168" y="257"/>
                    <a:pt x="170" y="268"/>
                    <a:pt x="173" y="275"/>
                  </a:cubicBezTo>
                  <a:cubicBezTo>
                    <a:pt x="175" y="278"/>
                    <a:pt x="187" y="280"/>
                    <a:pt x="191" y="278"/>
                  </a:cubicBezTo>
                  <a:cubicBezTo>
                    <a:pt x="205" y="267"/>
                    <a:pt x="218" y="254"/>
                    <a:pt x="231" y="241"/>
                  </a:cubicBezTo>
                  <a:cubicBezTo>
                    <a:pt x="234" y="239"/>
                    <a:pt x="234" y="235"/>
                    <a:pt x="235" y="233"/>
                  </a:cubicBezTo>
                  <a:close/>
                  <a:moveTo>
                    <a:pt x="136" y="229"/>
                  </a:moveTo>
                  <a:cubicBezTo>
                    <a:pt x="136" y="247"/>
                    <a:pt x="148" y="256"/>
                    <a:pt x="158" y="249"/>
                  </a:cubicBezTo>
                  <a:cubicBezTo>
                    <a:pt x="170" y="240"/>
                    <a:pt x="182" y="229"/>
                    <a:pt x="191" y="217"/>
                  </a:cubicBezTo>
                  <a:cubicBezTo>
                    <a:pt x="195" y="213"/>
                    <a:pt x="192" y="200"/>
                    <a:pt x="188" y="195"/>
                  </a:cubicBezTo>
                  <a:cubicBezTo>
                    <a:pt x="186" y="192"/>
                    <a:pt x="173" y="193"/>
                    <a:pt x="168" y="196"/>
                  </a:cubicBezTo>
                  <a:cubicBezTo>
                    <a:pt x="158" y="202"/>
                    <a:pt x="150" y="210"/>
                    <a:pt x="142" y="219"/>
                  </a:cubicBezTo>
                  <a:cubicBezTo>
                    <a:pt x="139" y="222"/>
                    <a:pt x="137" y="228"/>
                    <a:pt x="136" y="229"/>
                  </a:cubicBezTo>
                  <a:close/>
                  <a:moveTo>
                    <a:pt x="258" y="267"/>
                  </a:moveTo>
                  <a:cubicBezTo>
                    <a:pt x="256" y="264"/>
                    <a:pt x="254" y="257"/>
                    <a:pt x="249" y="254"/>
                  </a:cubicBezTo>
                  <a:cubicBezTo>
                    <a:pt x="244" y="252"/>
                    <a:pt x="236" y="254"/>
                    <a:pt x="232" y="257"/>
                  </a:cubicBezTo>
                  <a:cubicBezTo>
                    <a:pt x="225" y="261"/>
                    <a:pt x="218" y="268"/>
                    <a:pt x="215" y="275"/>
                  </a:cubicBezTo>
                  <a:cubicBezTo>
                    <a:pt x="212" y="281"/>
                    <a:pt x="212" y="290"/>
                    <a:pt x="215" y="296"/>
                  </a:cubicBezTo>
                  <a:cubicBezTo>
                    <a:pt x="216" y="299"/>
                    <a:pt x="224" y="302"/>
                    <a:pt x="229" y="302"/>
                  </a:cubicBezTo>
                  <a:cubicBezTo>
                    <a:pt x="239" y="302"/>
                    <a:pt x="257" y="279"/>
                    <a:pt x="258" y="267"/>
                  </a:cubicBezTo>
                  <a:close/>
                  <a:moveTo>
                    <a:pt x="97" y="215"/>
                  </a:moveTo>
                  <a:cubicBezTo>
                    <a:pt x="100" y="218"/>
                    <a:pt x="105" y="225"/>
                    <a:pt x="112" y="227"/>
                  </a:cubicBezTo>
                  <a:cubicBezTo>
                    <a:pt x="121" y="229"/>
                    <a:pt x="135" y="216"/>
                    <a:pt x="135" y="206"/>
                  </a:cubicBezTo>
                  <a:cubicBezTo>
                    <a:pt x="135" y="196"/>
                    <a:pt x="130" y="188"/>
                    <a:pt x="119" y="188"/>
                  </a:cubicBezTo>
                  <a:cubicBezTo>
                    <a:pt x="109" y="187"/>
                    <a:pt x="97" y="199"/>
                    <a:pt x="97" y="2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6"/>
            <p:cNvSpPr>
              <a:spLocks/>
            </p:cNvSpPr>
            <p:nvPr/>
          </p:nvSpPr>
          <p:spPr bwMode="auto">
            <a:xfrm>
              <a:off x="2041" y="1633"/>
              <a:ext cx="196" cy="137"/>
            </a:xfrm>
            <a:custGeom>
              <a:avLst/>
              <a:gdLst/>
              <a:ahLst/>
              <a:cxnLst>
                <a:cxn ang="0">
                  <a:pos x="236" y="196"/>
                </a:cxn>
                <a:cxn ang="0">
                  <a:pos x="149" y="100"/>
                </a:cxn>
                <a:cxn ang="0">
                  <a:pos x="137" y="88"/>
                </a:cxn>
                <a:cxn ang="0">
                  <a:pos x="75" y="78"/>
                </a:cxn>
                <a:cxn ang="0">
                  <a:pos x="30" y="100"/>
                </a:cxn>
                <a:cxn ang="0">
                  <a:pos x="6" y="97"/>
                </a:cxn>
                <a:cxn ang="0">
                  <a:pos x="12" y="72"/>
                </a:cxn>
                <a:cxn ang="0">
                  <a:pos x="108" y="8"/>
                </a:cxn>
                <a:cxn ang="0">
                  <a:pos x="152" y="9"/>
                </a:cxn>
                <a:cxn ang="0">
                  <a:pos x="174" y="22"/>
                </a:cxn>
                <a:cxn ang="0">
                  <a:pos x="219" y="27"/>
                </a:cxn>
                <a:cxn ang="0">
                  <a:pos x="265" y="115"/>
                </a:cxn>
                <a:cxn ang="0">
                  <a:pos x="259" y="168"/>
                </a:cxn>
                <a:cxn ang="0">
                  <a:pos x="236" y="196"/>
                </a:cxn>
              </a:cxnLst>
              <a:rect l="0" t="0" r="r" b="b"/>
              <a:pathLst>
                <a:path w="280" h="196">
                  <a:moveTo>
                    <a:pt x="236" y="196"/>
                  </a:moveTo>
                  <a:cubicBezTo>
                    <a:pt x="203" y="161"/>
                    <a:pt x="176" y="130"/>
                    <a:pt x="149" y="100"/>
                  </a:cubicBezTo>
                  <a:cubicBezTo>
                    <a:pt x="145" y="96"/>
                    <a:pt x="141" y="92"/>
                    <a:pt x="137" y="88"/>
                  </a:cubicBezTo>
                  <a:cubicBezTo>
                    <a:pt x="110" y="59"/>
                    <a:pt x="110" y="59"/>
                    <a:pt x="75" y="78"/>
                  </a:cubicBezTo>
                  <a:cubicBezTo>
                    <a:pt x="60" y="86"/>
                    <a:pt x="45" y="93"/>
                    <a:pt x="30" y="100"/>
                  </a:cubicBezTo>
                  <a:cubicBezTo>
                    <a:pt x="22" y="104"/>
                    <a:pt x="13" y="107"/>
                    <a:pt x="6" y="97"/>
                  </a:cubicBezTo>
                  <a:cubicBezTo>
                    <a:pt x="0" y="87"/>
                    <a:pt x="3" y="78"/>
                    <a:pt x="12" y="72"/>
                  </a:cubicBezTo>
                  <a:cubicBezTo>
                    <a:pt x="43" y="50"/>
                    <a:pt x="75" y="29"/>
                    <a:pt x="108" y="8"/>
                  </a:cubicBezTo>
                  <a:cubicBezTo>
                    <a:pt x="122" y="0"/>
                    <a:pt x="138" y="2"/>
                    <a:pt x="152" y="9"/>
                  </a:cubicBezTo>
                  <a:cubicBezTo>
                    <a:pt x="160" y="13"/>
                    <a:pt x="168" y="17"/>
                    <a:pt x="174" y="22"/>
                  </a:cubicBezTo>
                  <a:cubicBezTo>
                    <a:pt x="188" y="32"/>
                    <a:pt x="202" y="38"/>
                    <a:pt x="219" y="27"/>
                  </a:cubicBezTo>
                  <a:cubicBezTo>
                    <a:pt x="235" y="57"/>
                    <a:pt x="250" y="86"/>
                    <a:pt x="265" y="115"/>
                  </a:cubicBezTo>
                  <a:cubicBezTo>
                    <a:pt x="280" y="144"/>
                    <a:pt x="280" y="144"/>
                    <a:pt x="259" y="168"/>
                  </a:cubicBezTo>
                  <a:cubicBezTo>
                    <a:pt x="251" y="176"/>
                    <a:pt x="244" y="185"/>
                    <a:pt x="236" y="1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7"/>
            <p:cNvSpPr>
              <a:spLocks/>
            </p:cNvSpPr>
            <p:nvPr/>
          </p:nvSpPr>
          <p:spPr bwMode="auto">
            <a:xfrm>
              <a:off x="2201" y="1626"/>
              <a:ext cx="73" cy="108"/>
            </a:xfrm>
            <a:custGeom>
              <a:avLst/>
              <a:gdLst/>
              <a:ahLst/>
              <a:cxnLst>
                <a:cxn ang="0">
                  <a:pos x="105" y="130"/>
                </a:cxn>
                <a:cxn ang="0">
                  <a:pos x="91" y="141"/>
                </a:cxn>
                <a:cxn ang="0">
                  <a:pos x="56" y="131"/>
                </a:cxn>
                <a:cxn ang="0">
                  <a:pos x="9" y="38"/>
                </a:cxn>
                <a:cxn ang="0">
                  <a:pos x="16" y="12"/>
                </a:cxn>
                <a:cxn ang="0">
                  <a:pos x="49" y="22"/>
                </a:cxn>
                <a:cxn ang="0">
                  <a:pos x="99" y="117"/>
                </a:cxn>
                <a:cxn ang="0">
                  <a:pos x="105" y="130"/>
                </a:cxn>
              </a:cxnLst>
              <a:rect l="0" t="0" r="r" b="b"/>
              <a:pathLst>
                <a:path w="105" h="154">
                  <a:moveTo>
                    <a:pt x="105" y="130"/>
                  </a:moveTo>
                  <a:cubicBezTo>
                    <a:pt x="100" y="134"/>
                    <a:pt x="96" y="138"/>
                    <a:pt x="91" y="141"/>
                  </a:cubicBezTo>
                  <a:cubicBezTo>
                    <a:pt x="69" y="154"/>
                    <a:pt x="68" y="153"/>
                    <a:pt x="56" y="131"/>
                  </a:cubicBezTo>
                  <a:cubicBezTo>
                    <a:pt x="41" y="100"/>
                    <a:pt x="25" y="69"/>
                    <a:pt x="9" y="38"/>
                  </a:cubicBezTo>
                  <a:cubicBezTo>
                    <a:pt x="0" y="21"/>
                    <a:pt x="0" y="20"/>
                    <a:pt x="16" y="12"/>
                  </a:cubicBezTo>
                  <a:cubicBezTo>
                    <a:pt x="38" y="0"/>
                    <a:pt x="38" y="0"/>
                    <a:pt x="49" y="22"/>
                  </a:cubicBezTo>
                  <a:cubicBezTo>
                    <a:pt x="66" y="53"/>
                    <a:pt x="82" y="85"/>
                    <a:pt x="99" y="117"/>
                  </a:cubicBezTo>
                  <a:cubicBezTo>
                    <a:pt x="101" y="121"/>
                    <a:pt x="102" y="124"/>
                    <a:pt x="105" y="1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8"/>
            <p:cNvSpPr>
              <a:spLocks/>
            </p:cNvSpPr>
            <p:nvPr/>
          </p:nvSpPr>
          <p:spPr bwMode="auto">
            <a:xfrm>
              <a:off x="1944" y="1629"/>
              <a:ext cx="60" cy="103"/>
            </a:xfrm>
            <a:custGeom>
              <a:avLst/>
              <a:gdLst/>
              <a:ahLst/>
              <a:cxnLst>
                <a:cxn ang="0">
                  <a:pos x="84" y="18"/>
                </a:cxn>
                <a:cxn ang="0">
                  <a:pos x="60" y="82"/>
                </a:cxn>
                <a:cxn ang="0">
                  <a:pos x="40" y="134"/>
                </a:cxn>
                <a:cxn ang="0">
                  <a:pos x="22" y="142"/>
                </a:cxn>
                <a:cxn ang="0">
                  <a:pos x="7" y="137"/>
                </a:cxn>
                <a:cxn ang="0">
                  <a:pos x="1" y="124"/>
                </a:cxn>
                <a:cxn ang="0">
                  <a:pos x="45" y="5"/>
                </a:cxn>
                <a:cxn ang="0">
                  <a:pos x="46" y="2"/>
                </a:cxn>
                <a:cxn ang="0">
                  <a:pos x="69" y="2"/>
                </a:cxn>
                <a:cxn ang="0">
                  <a:pos x="84" y="18"/>
                </a:cxn>
              </a:cxnLst>
              <a:rect l="0" t="0" r="r" b="b"/>
              <a:pathLst>
                <a:path w="86" h="146">
                  <a:moveTo>
                    <a:pt x="84" y="18"/>
                  </a:moveTo>
                  <a:cubicBezTo>
                    <a:pt x="76" y="38"/>
                    <a:pt x="68" y="60"/>
                    <a:pt x="60" y="82"/>
                  </a:cubicBezTo>
                  <a:cubicBezTo>
                    <a:pt x="54" y="99"/>
                    <a:pt x="47" y="116"/>
                    <a:pt x="40" y="134"/>
                  </a:cubicBezTo>
                  <a:cubicBezTo>
                    <a:pt x="37" y="144"/>
                    <a:pt x="31" y="146"/>
                    <a:pt x="22" y="142"/>
                  </a:cubicBezTo>
                  <a:cubicBezTo>
                    <a:pt x="17" y="140"/>
                    <a:pt x="11" y="140"/>
                    <a:pt x="7" y="137"/>
                  </a:cubicBezTo>
                  <a:cubicBezTo>
                    <a:pt x="3" y="134"/>
                    <a:pt x="0" y="127"/>
                    <a:pt x="1" y="124"/>
                  </a:cubicBezTo>
                  <a:cubicBezTo>
                    <a:pt x="15" y="84"/>
                    <a:pt x="30" y="44"/>
                    <a:pt x="45" y="5"/>
                  </a:cubicBezTo>
                  <a:cubicBezTo>
                    <a:pt x="46" y="4"/>
                    <a:pt x="46" y="2"/>
                    <a:pt x="46" y="2"/>
                  </a:cubicBezTo>
                  <a:cubicBezTo>
                    <a:pt x="54" y="2"/>
                    <a:pt x="62" y="0"/>
                    <a:pt x="69" y="2"/>
                  </a:cubicBezTo>
                  <a:cubicBezTo>
                    <a:pt x="76" y="3"/>
                    <a:pt x="86" y="4"/>
                    <a:pt x="84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9"/>
            <p:cNvSpPr>
              <a:spLocks/>
            </p:cNvSpPr>
            <p:nvPr/>
          </p:nvSpPr>
          <p:spPr bwMode="auto">
            <a:xfrm>
              <a:off x="2121" y="1751"/>
              <a:ext cx="88" cy="81"/>
            </a:xfrm>
            <a:custGeom>
              <a:avLst/>
              <a:gdLst/>
              <a:ahLst/>
              <a:cxnLst>
                <a:cxn ang="0">
                  <a:pos x="125" y="35"/>
                </a:cxn>
                <a:cxn ang="0">
                  <a:pos x="90" y="64"/>
                </a:cxn>
                <a:cxn ang="0">
                  <a:pos x="48" y="89"/>
                </a:cxn>
                <a:cxn ang="0">
                  <a:pos x="10" y="113"/>
                </a:cxn>
                <a:cxn ang="0">
                  <a:pos x="19" y="105"/>
                </a:cxn>
                <a:cxn ang="0">
                  <a:pos x="30" y="70"/>
                </a:cxn>
                <a:cxn ang="0">
                  <a:pos x="6" y="42"/>
                </a:cxn>
                <a:cxn ang="0">
                  <a:pos x="0" y="29"/>
                </a:cxn>
                <a:cxn ang="0">
                  <a:pos x="4" y="26"/>
                </a:cxn>
                <a:cxn ang="0">
                  <a:pos x="21" y="43"/>
                </a:cxn>
                <a:cxn ang="0">
                  <a:pos x="47" y="72"/>
                </a:cxn>
                <a:cxn ang="0">
                  <a:pos x="70" y="77"/>
                </a:cxn>
                <a:cxn ang="0">
                  <a:pos x="74" y="50"/>
                </a:cxn>
                <a:cxn ang="0">
                  <a:pos x="47" y="18"/>
                </a:cxn>
                <a:cxn ang="0">
                  <a:pos x="37" y="0"/>
                </a:cxn>
                <a:cxn ang="0">
                  <a:pos x="54" y="11"/>
                </a:cxn>
                <a:cxn ang="0">
                  <a:pos x="84" y="44"/>
                </a:cxn>
                <a:cxn ang="0">
                  <a:pos x="117" y="43"/>
                </a:cxn>
                <a:cxn ang="0">
                  <a:pos x="125" y="35"/>
                </a:cxn>
              </a:cxnLst>
              <a:rect l="0" t="0" r="r" b="b"/>
              <a:pathLst>
                <a:path w="126" h="116">
                  <a:moveTo>
                    <a:pt x="125" y="35"/>
                  </a:moveTo>
                  <a:cubicBezTo>
                    <a:pt x="126" y="58"/>
                    <a:pt x="116" y="65"/>
                    <a:pt x="90" y="64"/>
                  </a:cubicBezTo>
                  <a:cubicBezTo>
                    <a:pt x="77" y="89"/>
                    <a:pt x="73" y="91"/>
                    <a:pt x="48" y="89"/>
                  </a:cubicBezTo>
                  <a:cubicBezTo>
                    <a:pt x="37" y="113"/>
                    <a:pt x="32" y="116"/>
                    <a:pt x="10" y="113"/>
                  </a:cubicBezTo>
                  <a:cubicBezTo>
                    <a:pt x="14" y="109"/>
                    <a:pt x="16" y="106"/>
                    <a:pt x="19" y="105"/>
                  </a:cubicBezTo>
                  <a:cubicBezTo>
                    <a:pt x="38" y="100"/>
                    <a:pt x="43" y="85"/>
                    <a:pt x="30" y="70"/>
                  </a:cubicBezTo>
                  <a:cubicBezTo>
                    <a:pt x="22" y="61"/>
                    <a:pt x="14" y="52"/>
                    <a:pt x="6" y="42"/>
                  </a:cubicBezTo>
                  <a:cubicBezTo>
                    <a:pt x="3" y="38"/>
                    <a:pt x="2" y="33"/>
                    <a:pt x="0" y="29"/>
                  </a:cubicBezTo>
                  <a:cubicBezTo>
                    <a:pt x="1" y="28"/>
                    <a:pt x="3" y="27"/>
                    <a:pt x="4" y="26"/>
                  </a:cubicBezTo>
                  <a:cubicBezTo>
                    <a:pt x="10" y="32"/>
                    <a:pt x="15" y="37"/>
                    <a:pt x="21" y="43"/>
                  </a:cubicBezTo>
                  <a:cubicBezTo>
                    <a:pt x="30" y="53"/>
                    <a:pt x="38" y="63"/>
                    <a:pt x="47" y="72"/>
                  </a:cubicBezTo>
                  <a:cubicBezTo>
                    <a:pt x="53" y="80"/>
                    <a:pt x="62" y="83"/>
                    <a:pt x="70" y="77"/>
                  </a:cubicBezTo>
                  <a:cubicBezTo>
                    <a:pt x="80" y="69"/>
                    <a:pt x="81" y="59"/>
                    <a:pt x="74" y="50"/>
                  </a:cubicBezTo>
                  <a:cubicBezTo>
                    <a:pt x="66" y="39"/>
                    <a:pt x="55" y="29"/>
                    <a:pt x="47" y="18"/>
                  </a:cubicBezTo>
                  <a:cubicBezTo>
                    <a:pt x="43" y="13"/>
                    <a:pt x="40" y="6"/>
                    <a:pt x="37" y="0"/>
                  </a:cubicBezTo>
                  <a:cubicBezTo>
                    <a:pt x="43" y="4"/>
                    <a:pt x="49" y="6"/>
                    <a:pt x="54" y="11"/>
                  </a:cubicBezTo>
                  <a:cubicBezTo>
                    <a:pt x="64" y="21"/>
                    <a:pt x="74" y="33"/>
                    <a:pt x="84" y="44"/>
                  </a:cubicBezTo>
                  <a:cubicBezTo>
                    <a:pt x="97" y="58"/>
                    <a:pt x="105" y="58"/>
                    <a:pt x="117" y="43"/>
                  </a:cubicBezTo>
                  <a:cubicBezTo>
                    <a:pt x="119" y="40"/>
                    <a:pt x="122" y="38"/>
                    <a:pt x="125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0"/>
            <p:cNvSpPr>
              <a:spLocks/>
            </p:cNvSpPr>
            <p:nvPr/>
          </p:nvSpPr>
          <p:spPr bwMode="auto">
            <a:xfrm>
              <a:off x="1983" y="1629"/>
              <a:ext cx="116" cy="128"/>
            </a:xfrm>
            <a:custGeom>
              <a:avLst/>
              <a:gdLst/>
              <a:ahLst/>
              <a:cxnLst>
                <a:cxn ang="0">
                  <a:pos x="40" y="182"/>
                </a:cxn>
                <a:cxn ang="0">
                  <a:pos x="31" y="180"/>
                </a:cxn>
                <a:cxn ang="0">
                  <a:pos x="3" y="149"/>
                </a:cxn>
                <a:cxn ang="0">
                  <a:pos x="2" y="132"/>
                </a:cxn>
                <a:cxn ang="0">
                  <a:pos x="42" y="26"/>
                </a:cxn>
                <a:cxn ang="0">
                  <a:pos x="63" y="21"/>
                </a:cxn>
                <a:cxn ang="0">
                  <a:pos x="96" y="24"/>
                </a:cxn>
                <a:cxn ang="0">
                  <a:pos x="127" y="8"/>
                </a:cxn>
                <a:cxn ang="0">
                  <a:pos x="166" y="12"/>
                </a:cxn>
                <a:cxn ang="0">
                  <a:pos x="158" y="15"/>
                </a:cxn>
                <a:cxn ang="0">
                  <a:pos x="115" y="26"/>
                </a:cxn>
                <a:cxn ang="0">
                  <a:pos x="52" y="27"/>
                </a:cxn>
                <a:cxn ang="0">
                  <a:pos x="20" y="110"/>
                </a:cxn>
                <a:cxn ang="0">
                  <a:pos x="31" y="167"/>
                </a:cxn>
                <a:cxn ang="0">
                  <a:pos x="41" y="178"/>
                </a:cxn>
                <a:cxn ang="0">
                  <a:pos x="40" y="182"/>
                </a:cxn>
              </a:cxnLst>
              <a:rect l="0" t="0" r="r" b="b"/>
              <a:pathLst>
                <a:path w="166" h="182">
                  <a:moveTo>
                    <a:pt x="40" y="182"/>
                  </a:moveTo>
                  <a:cubicBezTo>
                    <a:pt x="37" y="181"/>
                    <a:pt x="33" y="182"/>
                    <a:pt x="31" y="180"/>
                  </a:cubicBezTo>
                  <a:cubicBezTo>
                    <a:pt x="21" y="170"/>
                    <a:pt x="11" y="160"/>
                    <a:pt x="3" y="149"/>
                  </a:cubicBezTo>
                  <a:cubicBezTo>
                    <a:pt x="0" y="145"/>
                    <a:pt x="1" y="137"/>
                    <a:pt x="2" y="132"/>
                  </a:cubicBezTo>
                  <a:cubicBezTo>
                    <a:pt x="15" y="97"/>
                    <a:pt x="29" y="61"/>
                    <a:pt x="42" y="26"/>
                  </a:cubicBezTo>
                  <a:cubicBezTo>
                    <a:pt x="47" y="13"/>
                    <a:pt x="52" y="12"/>
                    <a:pt x="63" y="21"/>
                  </a:cubicBezTo>
                  <a:cubicBezTo>
                    <a:pt x="74" y="29"/>
                    <a:pt x="85" y="29"/>
                    <a:pt x="96" y="24"/>
                  </a:cubicBezTo>
                  <a:cubicBezTo>
                    <a:pt x="107" y="19"/>
                    <a:pt x="117" y="12"/>
                    <a:pt x="127" y="8"/>
                  </a:cubicBezTo>
                  <a:cubicBezTo>
                    <a:pt x="140" y="3"/>
                    <a:pt x="153" y="0"/>
                    <a:pt x="166" y="12"/>
                  </a:cubicBezTo>
                  <a:cubicBezTo>
                    <a:pt x="162" y="13"/>
                    <a:pt x="160" y="15"/>
                    <a:pt x="158" y="15"/>
                  </a:cubicBezTo>
                  <a:cubicBezTo>
                    <a:pt x="142" y="11"/>
                    <a:pt x="128" y="18"/>
                    <a:pt x="115" y="26"/>
                  </a:cubicBezTo>
                  <a:cubicBezTo>
                    <a:pt x="86" y="41"/>
                    <a:pt x="81" y="41"/>
                    <a:pt x="52" y="27"/>
                  </a:cubicBezTo>
                  <a:cubicBezTo>
                    <a:pt x="41" y="55"/>
                    <a:pt x="33" y="84"/>
                    <a:pt x="20" y="110"/>
                  </a:cubicBezTo>
                  <a:cubicBezTo>
                    <a:pt x="8" y="133"/>
                    <a:pt x="9" y="151"/>
                    <a:pt x="31" y="167"/>
                  </a:cubicBezTo>
                  <a:cubicBezTo>
                    <a:pt x="35" y="169"/>
                    <a:pt x="37" y="174"/>
                    <a:pt x="41" y="178"/>
                  </a:cubicBezTo>
                  <a:cubicBezTo>
                    <a:pt x="40" y="179"/>
                    <a:pt x="40" y="180"/>
                    <a:pt x="40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1"/>
            <p:cNvSpPr>
              <a:spLocks/>
            </p:cNvSpPr>
            <p:nvPr/>
          </p:nvSpPr>
          <p:spPr bwMode="auto">
            <a:xfrm>
              <a:off x="2062" y="1772"/>
              <a:ext cx="46" cy="50"/>
            </a:xfrm>
            <a:custGeom>
              <a:avLst/>
              <a:gdLst/>
              <a:ahLst/>
              <a:cxnLst>
                <a:cxn ang="0">
                  <a:pos x="67" y="25"/>
                </a:cxn>
                <a:cxn ang="0">
                  <a:pos x="63" y="33"/>
                </a:cxn>
                <a:cxn ang="0">
                  <a:pos x="23" y="70"/>
                </a:cxn>
                <a:cxn ang="0">
                  <a:pos x="5" y="67"/>
                </a:cxn>
                <a:cxn ang="0">
                  <a:pos x="4" y="44"/>
                </a:cxn>
                <a:cxn ang="0">
                  <a:pos x="44" y="7"/>
                </a:cxn>
                <a:cxn ang="0">
                  <a:pos x="67" y="25"/>
                </a:cxn>
              </a:cxnLst>
              <a:rect l="0" t="0" r="r" b="b"/>
              <a:pathLst>
                <a:path w="67" h="72">
                  <a:moveTo>
                    <a:pt x="67" y="25"/>
                  </a:moveTo>
                  <a:cubicBezTo>
                    <a:pt x="66" y="27"/>
                    <a:pt x="66" y="31"/>
                    <a:pt x="63" y="33"/>
                  </a:cubicBezTo>
                  <a:cubicBezTo>
                    <a:pt x="50" y="46"/>
                    <a:pt x="37" y="59"/>
                    <a:pt x="23" y="70"/>
                  </a:cubicBezTo>
                  <a:cubicBezTo>
                    <a:pt x="19" y="72"/>
                    <a:pt x="7" y="70"/>
                    <a:pt x="5" y="67"/>
                  </a:cubicBezTo>
                  <a:cubicBezTo>
                    <a:pt x="2" y="60"/>
                    <a:pt x="0" y="49"/>
                    <a:pt x="4" y="44"/>
                  </a:cubicBezTo>
                  <a:cubicBezTo>
                    <a:pt x="16" y="30"/>
                    <a:pt x="30" y="18"/>
                    <a:pt x="44" y="7"/>
                  </a:cubicBezTo>
                  <a:cubicBezTo>
                    <a:pt x="54" y="0"/>
                    <a:pt x="67" y="10"/>
                    <a:pt x="67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2"/>
            <p:cNvSpPr>
              <a:spLocks/>
            </p:cNvSpPr>
            <p:nvPr/>
          </p:nvSpPr>
          <p:spPr bwMode="auto">
            <a:xfrm>
              <a:off x="2039" y="1760"/>
              <a:ext cx="41" cy="45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6" y="27"/>
                </a:cxn>
                <a:cxn ang="0">
                  <a:pos x="32" y="4"/>
                </a:cxn>
                <a:cxn ang="0">
                  <a:pos x="52" y="3"/>
                </a:cxn>
                <a:cxn ang="0">
                  <a:pos x="55" y="25"/>
                </a:cxn>
                <a:cxn ang="0">
                  <a:pos x="22" y="57"/>
                </a:cxn>
                <a:cxn ang="0">
                  <a:pos x="0" y="37"/>
                </a:cxn>
              </a:cxnLst>
              <a:rect l="0" t="0" r="r" b="b"/>
              <a:pathLst>
                <a:path w="59" h="64">
                  <a:moveTo>
                    <a:pt x="0" y="37"/>
                  </a:moveTo>
                  <a:cubicBezTo>
                    <a:pt x="1" y="36"/>
                    <a:pt x="3" y="30"/>
                    <a:pt x="6" y="27"/>
                  </a:cubicBezTo>
                  <a:cubicBezTo>
                    <a:pt x="14" y="18"/>
                    <a:pt x="22" y="10"/>
                    <a:pt x="32" y="4"/>
                  </a:cubicBezTo>
                  <a:cubicBezTo>
                    <a:pt x="37" y="1"/>
                    <a:pt x="50" y="0"/>
                    <a:pt x="52" y="3"/>
                  </a:cubicBezTo>
                  <a:cubicBezTo>
                    <a:pt x="56" y="8"/>
                    <a:pt x="59" y="21"/>
                    <a:pt x="55" y="25"/>
                  </a:cubicBezTo>
                  <a:cubicBezTo>
                    <a:pt x="46" y="37"/>
                    <a:pt x="34" y="48"/>
                    <a:pt x="22" y="57"/>
                  </a:cubicBezTo>
                  <a:cubicBezTo>
                    <a:pt x="12" y="64"/>
                    <a:pt x="0" y="55"/>
                    <a:pt x="0" y="3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3"/>
            <p:cNvSpPr>
              <a:spLocks/>
            </p:cNvSpPr>
            <p:nvPr/>
          </p:nvSpPr>
          <p:spPr bwMode="auto">
            <a:xfrm>
              <a:off x="2092" y="1802"/>
              <a:ext cx="33" cy="35"/>
            </a:xfrm>
            <a:custGeom>
              <a:avLst/>
              <a:gdLst/>
              <a:ahLst/>
              <a:cxnLst>
                <a:cxn ang="0">
                  <a:pos x="46" y="15"/>
                </a:cxn>
                <a:cxn ang="0">
                  <a:pos x="17" y="50"/>
                </a:cxn>
                <a:cxn ang="0">
                  <a:pos x="3" y="44"/>
                </a:cxn>
                <a:cxn ang="0">
                  <a:pos x="3" y="23"/>
                </a:cxn>
                <a:cxn ang="0">
                  <a:pos x="20" y="5"/>
                </a:cxn>
                <a:cxn ang="0">
                  <a:pos x="37" y="2"/>
                </a:cxn>
                <a:cxn ang="0">
                  <a:pos x="46" y="15"/>
                </a:cxn>
              </a:cxnLst>
              <a:rect l="0" t="0" r="r" b="b"/>
              <a:pathLst>
                <a:path w="46" h="50">
                  <a:moveTo>
                    <a:pt x="46" y="15"/>
                  </a:moveTo>
                  <a:cubicBezTo>
                    <a:pt x="45" y="27"/>
                    <a:pt x="27" y="50"/>
                    <a:pt x="17" y="50"/>
                  </a:cubicBezTo>
                  <a:cubicBezTo>
                    <a:pt x="12" y="50"/>
                    <a:pt x="4" y="47"/>
                    <a:pt x="3" y="44"/>
                  </a:cubicBezTo>
                  <a:cubicBezTo>
                    <a:pt x="0" y="38"/>
                    <a:pt x="0" y="29"/>
                    <a:pt x="3" y="23"/>
                  </a:cubicBezTo>
                  <a:cubicBezTo>
                    <a:pt x="6" y="16"/>
                    <a:pt x="13" y="9"/>
                    <a:pt x="20" y="5"/>
                  </a:cubicBezTo>
                  <a:cubicBezTo>
                    <a:pt x="24" y="2"/>
                    <a:pt x="32" y="0"/>
                    <a:pt x="37" y="2"/>
                  </a:cubicBezTo>
                  <a:cubicBezTo>
                    <a:pt x="42" y="5"/>
                    <a:pt x="44" y="12"/>
                    <a:pt x="46" y="1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14"/>
            <p:cNvSpPr>
              <a:spLocks/>
            </p:cNvSpPr>
            <p:nvPr/>
          </p:nvSpPr>
          <p:spPr bwMode="auto">
            <a:xfrm>
              <a:off x="2012" y="1757"/>
              <a:ext cx="27" cy="29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22" y="1"/>
                </a:cxn>
                <a:cxn ang="0">
                  <a:pos x="38" y="19"/>
                </a:cxn>
                <a:cxn ang="0">
                  <a:pos x="15" y="40"/>
                </a:cxn>
                <a:cxn ang="0">
                  <a:pos x="0" y="28"/>
                </a:cxn>
              </a:cxnLst>
              <a:rect l="0" t="0" r="r" b="b"/>
              <a:pathLst>
                <a:path w="38" h="42">
                  <a:moveTo>
                    <a:pt x="0" y="28"/>
                  </a:moveTo>
                  <a:cubicBezTo>
                    <a:pt x="0" y="12"/>
                    <a:pt x="12" y="0"/>
                    <a:pt x="22" y="1"/>
                  </a:cubicBezTo>
                  <a:cubicBezTo>
                    <a:pt x="33" y="1"/>
                    <a:pt x="38" y="9"/>
                    <a:pt x="38" y="19"/>
                  </a:cubicBezTo>
                  <a:cubicBezTo>
                    <a:pt x="38" y="29"/>
                    <a:pt x="24" y="42"/>
                    <a:pt x="15" y="40"/>
                  </a:cubicBezTo>
                  <a:cubicBezTo>
                    <a:pt x="8" y="38"/>
                    <a:pt x="3" y="31"/>
                    <a:pt x="0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2901594" y="1684973"/>
            <a:ext cx="547657" cy="404772"/>
            <a:chOff x="-1602076" y="4826852"/>
            <a:chExt cx="867266" cy="518983"/>
          </a:xfrm>
        </p:grpSpPr>
        <p:pic>
          <p:nvPicPr>
            <p:cNvPr id="70" name="Graphique 10" descr="Smartphone">
              <a:extLst>
                <a:ext uri="{FF2B5EF4-FFF2-40B4-BE49-F238E27FC236}">
                  <a16:creationId xmlns:a16="http://schemas.microsoft.com/office/drawing/2014/main" id="{E009BB46-9495-497D-B720-42C60F530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-1602076" y="4911555"/>
              <a:ext cx="239011" cy="333653"/>
            </a:xfrm>
            <a:prstGeom prst="rect">
              <a:avLst/>
            </a:prstGeom>
          </p:spPr>
        </p:pic>
        <p:pic>
          <p:nvPicPr>
            <p:cNvPr id="71" name="Graphique 12" descr="Ordinateur">
              <a:extLst>
                <a:ext uri="{FF2B5EF4-FFF2-40B4-BE49-F238E27FC236}">
                  <a16:creationId xmlns:a16="http://schemas.microsoft.com/office/drawing/2014/main" id="{4D02866E-7EAB-4D05-970D-5CC686060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-1106581" y="4826852"/>
              <a:ext cx="371771" cy="518983"/>
            </a:xfrm>
            <a:prstGeom prst="rect">
              <a:avLst/>
            </a:prstGeom>
          </p:spPr>
        </p:pic>
        <p:sp>
          <p:nvSpPr>
            <p:cNvPr id="72" name="Freeform 319">
              <a:extLst>
                <a:ext uri="{FF2B5EF4-FFF2-40B4-BE49-F238E27FC236}">
                  <a16:creationId xmlns:a16="http://schemas.microsoft.com/office/drawing/2014/main" id="{3AD0C7BD-9795-42F4-8A9C-B5F5080B2ABE}"/>
                </a:ext>
              </a:extLst>
            </p:cNvPr>
            <p:cNvSpPr/>
            <p:nvPr/>
          </p:nvSpPr>
          <p:spPr>
            <a:xfrm>
              <a:off x="-1344975" y="4946549"/>
              <a:ext cx="206775" cy="266312"/>
            </a:xfrm>
            <a:custGeom>
              <a:avLst/>
              <a:gdLst>
                <a:gd name="connsiteX0" fmla="*/ 414678 w 468766"/>
                <a:gd name="connsiteY0" fmla="*/ 360589 h 432707"/>
                <a:gd name="connsiteX1" fmla="*/ 402000 w 468766"/>
                <a:gd name="connsiteY1" fmla="*/ 365942 h 432707"/>
                <a:gd name="connsiteX2" fmla="*/ 396648 w 468766"/>
                <a:gd name="connsiteY2" fmla="*/ 378619 h 432707"/>
                <a:gd name="connsiteX3" fmla="*/ 402000 w 468766"/>
                <a:gd name="connsiteY3" fmla="*/ 391296 h 432707"/>
                <a:gd name="connsiteX4" fmla="*/ 414678 w 468766"/>
                <a:gd name="connsiteY4" fmla="*/ 396648 h 432707"/>
                <a:gd name="connsiteX5" fmla="*/ 427355 w 468766"/>
                <a:gd name="connsiteY5" fmla="*/ 391296 h 432707"/>
                <a:gd name="connsiteX6" fmla="*/ 432707 w 468766"/>
                <a:gd name="connsiteY6" fmla="*/ 378619 h 432707"/>
                <a:gd name="connsiteX7" fmla="*/ 427355 w 468766"/>
                <a:gd name="connsiteY7" fmla="*/ 365942 h 432707"/>
                <a:gd name="connsiteX8" fmla="*/ 414678 w 468766"/>
                <a:gd name="connsiteY8" fmla="*/ 360589 h 432707"/>
                <a:gd name="connsiteX9" fmla="*/ 342560 w 468766"/>
                <a:gd name="connsiteY9" fmla="*/ 360589 h 432707"/>
                <a:gd name="connsiteX10" fmla="*/ 329883 w 468766"/>
                <a:gd name="connsiteY10" fmla="*/ 365942 h 432707"/>
                <a:gd name="connsiteX11" fmla="*/ 324530 w 468766"/>
                <a:gd name="connsiteY11" fmla="*/ 378619 h 432707"/>
                <a:gd name="connsiteX12" fmla="*/ 329883 w 468766"/>
                <a:gd name="connsiteY12" fmla="*/ 391296 h 432707"/>
                <a:gd name="connsiteX13" fmla="*/ 342560 w 468766"/>
                <a:gd name="connsiteY13" fmla="*/ 396648 h 432707"/>
                <a:gd name="connsiteX14" fmla="*/ 355236 w 468766"/>
                <a:gd name="connsiteY14" fmla="*/ 391296 h 432707"/>
                <a:gd name="connsiteX15" fmla="*/ 360589 w 468766"/>
                <a:gd name="connsiteY15" fmla="*/ 378619 h 432707"/>
                <a:gd name="connsiteX16" fmla="*/ 355236 w 468766"/>
                <a:gd name="connsiteY16" fmla="*/ 365942 h 432707"/>
                <a:gd name="connsiteX17" fmla="*/ 342560 w 468766"/>
                <a:gd name="connsiteY17" fmla="*/ 360589 h 432707"/>
                <a:gd name="connsiteX18" fmla="*/ 27044 w 468766"/>
                <a:gd name="connsiteY18" fmla="*/ 288471 h 432707"/>
                <a:gd name="connsiteX19" fmla="*/ 158039 w 468766"/>
                <a:gd name="connsiteY19" fmla="*/ 288471 h 432707"/>
                <a:gd name="connsiteX20" fmla="*/ 196070 w 468766"/>
                <a:gd name="connsiteY20" fmla="*/ 326784 h 432707"/>
                <a:gd name="connsiteX21" fmla="*/ 234383 w 468766"/>
                <a:gd name="connsiteY21" fmla="*/ 342560 h 432707"/>
                <a:gd name="connsiteX22" fmla="*/ 272696 w 468766"/>
                <a:gd name="connsiteY22" fmla="*/ 326784 h 432707"/>
                <a:gd name="connsiteX23" fmla="*/ 311008 w 468766"/>
                <a:gd name="connsiteY23" fmla="*/ 288471 h 432707"/>
                <a:gd name="connsiteX24" fmla="*/ 441722 w 468766"/>
                <a:gd name="connsiteY24" fmla="*/ 288471 h 432707"/>
                <a:gd name="connsiteX25" fmla="*/ 460878 w 468766"/>
                <a:gd name="connsiteY25" fmla="*/ 296359 h 432707"/>
                <a:gd name="connsiteX26" fmla="*/ 468766 w 468766"/>
                <a:gd name="connsiteY26" fmla="*/ 315516 h 432707"/>
                <a:gd name="connsiteX27" fmla="*/ 468766 w 468766"/>
                <a:gd name="connsiteY27" fmla="*/ 405663 h 432707"/>
                <a:gd name="connsiteX28" fmla="*/ 460878 w 468766"/>
                <a:gd name="connsiteY28" fmla="*/ 424819 h 432707"/>
                <a:gd name="connsiteX29" fmla="*/ 441722 w 468766"/>
                <a:gd name="connsiteY29" fmla="*/ 432707 h 432707"/>
                <a:gd name="connsiteX30" fmla="*/ 27044 w 468766"/>
                <a:gd name="connsiteY30" fmla="*/ 432707 h 432707"/>
                <a:gd name="connsiteX31" fmla="*/ 7888 w 468766"/>
                <a:gd name="connsiteY31" fmla="*/ 424819 h 432707"/>
                <a:gd name="connsiteX32" fmla="*/ 0 w 468766"/>
                <a:gd name="connsiteY32" fmla="*/ 405663 h 432707"/>
                <a:gd name="connsiteX33" fmla="*/ 0 w 468766"/>
                <a:gd name="connsiteY33" fmla="*/ 315516 h 432707"/>
                <a:gd name="connsiteX34" fmla="*/ 7888 w 468766"/>
                <a:gd name="connsiteY34" fmla="*/ 296359 h 432707"/>
                <a:gd name="connsiteX35" fmla="*/ 27044 w 468766"/>
                <a:gd name="connsiteY35" fmla="*/ 288471 h 432707"/>
                <a:gd name="connsiteX36" fmla="*/ 198325 w 468766"/>
                <a:gd name="connsiteY36" fmla="*/ 0 h 432707"/>
                <a:gd name="connsiteX37" fmla="*/ 270443 w 468766"/>
                <a:gd name="connsiteY37" fmla="*/ 0 h 432707"/>
                <a:gd name="connsiteX38" fmla="*/ 283120 w 468766"/>
                <a:gd name="connsiteY38" fmla="*/ 5353 h 432707"/>
                <a:gd name="connsiteX39" fmla="*/ 288472 w 468766"/>
                <a:gd name="connsiteY39" fmla="*/ 18030 h 432707"/>
                <a:gd name="connsiteX40" fmla="*/ 288472 w 468766"/>
                <a:gd name="connsiteY40" fmla="*/ 144236 h 432707"/>
                <a:gd name="connsiteX41" fmla="*/ 360590 w 468766"/>
                <a:gd name="connsiteY41" fmla="*/ 144236 h 432707"/>
                <a:gd name="connsiteX42" fmla="*/ 377211 w 468766"/>
                <a:gd name="connsiteY42" fmla="*/ 155222 h 432707"/>
                <a:gd name="connsiteX43" fmla="*/ 373267 w 468766"/>
                <a:gd name="connsiteY43" fmla="*/ 174942 h 432707"/>
                <a:gd name="connsiteX44" fmla="*/ 247061 w 468766"/>
                <a:gd name="connsiteY44" fmla="*/ 301148 h 432707"/>
                <a:gd name="connsiteX45" fmla="*/ 234384 w 468766"/>
                <a:gd name="connsiteY45" fmla="*/ 306501 h 432707"/>
                <a:gd name="connsiteX46" fmla="*/ 221707 w 468766"/>
                <a:gd name="connsiteY46" fmla="*/ 301148 h 432707"/>
                <a:gd name="connsiteX47" fmla="*/ 95500 w 468766"/>
                <a:gd name="connsiteY47" fmla="*/ 174942 h 432707"/>
                <a:gd name="connsiteX48" fmla="*/ 91556 w 468766"/>
                <a:gd name="connsiteY48" fmla="*/ 155222 h 432707"/>
                <a:gd name="connsiteX49" fmla="*/ 108178 w 468766"/>
                <a:gd name="connsiteY49" fmla="*/ 144236 h 432707"/>
                <a:gd name="connsiteX50" fmla="*/ 180295 w 468766"/>
                <a:gd name="connsiteY50" fmla="*/ 144236 h 432707"/>
                <a:gd name="connsiteX51" fmla="*/ 180295 w 468766"/>
                <a:gd name="connsiteY51" fmla="*/ 18030 h 432707"/>
                <a:gd name="connsiteX52" fmla="*/ 185648 w 468766"/>
                <a:gd name="connsiteY52" fmla="*/ 5353 h 432707"/>
                <a:gd name="connsiteX53" fmla="*/ 198325 w 468766"/>
                <a:gd name="connsiteY53" fmla="*/ 0 h 43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68766" h="432707">
                  <a:moveTo>
                    <a:pt x="414678" y="360589"/>
                  </a:moveTo>
                  <a:cubicBezTo>
                    <a:pt x="409795" y="360589"/>
                    <a:pt x="405569" y="362374"/>
                    <a:pt x="402000" y="365942"/>
                  </a:cubicBezTo>
                  <a:cubicBezTo>
                    <a:pt x="398433" y="369510"/>
                    <a:pt x="396648" y="373736"/>
                    <a:pt x="396648" y="378619"/>
                  </a:cubicBezTo>
                  <a:cubicBezTo>
                    <a:pt x="396648" y="383502"/>
                    <a:pt x="398433" y="387727"/>
                    <a:pt x="402000" y="391296"/>
                  </a:cubicBezTo>
                  <a:cubicBezTo>
                    <a:pt x="405569" y="394864"/>
                    <a:pt x="409795" y="396648"/>
                    <a:pt x="414678" y="396648"/>
                  </a:cubicBezTo>
                  <a:cubicBezTo>
                    <a:pt x="419560" y="396648"/>
                    <a:pt x="423786" y="394864"/>
                    <a:pt x="427355" y="391296"/>
                  </a:cubicBezTo>
                  <a:cubicBezTo>
                    <a:pt x="430923" y="387727"/>
                    <a:pt x="432707" y="383502"/>
                    <a:pt x="432707" y="378619"/>
                  </a:cubicBezTo>
                  <a:cubicBezTo>
                    <a:pt x="432707" y="373736"/>
                    <a:pt x="430923" y="369510"/>
                    <a:pt x="427355" y="365942"/>
                  </a:cubicBezTo>
                  <a:cubicBezTo>
                    <a:pt x="423786" y="362374"/>
                    <a:pt x="419560" y="360589"/>
                    <a:pt x="414678" y="360589"/>
                  </a:cubicBezTo>
                  <a:close/>
                  <a:moveTo>
                    <a:pt x="342560" y="360589"/>
                  </a:moveTo>
                  <a:cubicBezTo>
                    <a:pt x="337677" y="360589"/>
                    <a:pt x="333451" y="362374"/>
                    <a:pt x="329883" y="365942"/>
                  </a:cubicBezTo>
                  <a:cubicBezTo>
                    <a:pt x="326314" y="369510"/>
                    <a:pt x="324530" y="373736"/>
                    <a:pt x="324530" y="378619"/>
                  </a:cubicBezTo>
                  <a:cubicBezTo>
                    <a:pt x="324530" y="383502"/>
                    <a:pt x="326314" y="387727"/>
                    <a:pt x="329883" y="391296"/>
                  </a:cubicBezTo>
                  <a:cubicBezTo>
                    <a:pt x="333451" y="394864"/>
                    <a:pt x="337677" y="396648"/>
                    <a:pt x="342560" y="396648"/>
                  </a:cubicBezTo>
                  <a:cubicBezTo>
                    <a:pt x="347443" y="396648"/>
                    <a:pt x="351669" y="394864"/>
                    <a:pt x="355236" y="391296"/>
                  </a:cubicBezTo>
                  <a:cubicBezTo>
                    <a:pt x="358805" y="387727"/>
                    <a:pt x="360589" y="383502"/>
                    <a:pt x="360589" y="378619"/>
                  </a:cubicBezTo>
                  <a:cubicBezTo>
                    <a:pt x="360589" y="373736"/>
                    <a:pt x="358805" y="369510"/>
                    <a:pt x="355236" y="365942"/>
                  </a:cubicBezTo>
                  <a:cubicBezTo>
                    <a:pt x="351669" y="362374"/>
                    <a:pt x="347443" y="360589"/>
                    <a:pt x="342560" y="360589"/>
                  </a:cubicBezTo>
                  <a:close/>
                  <a:moveTo>
                    <a:pt x="27044" y="288471"/>
                  </a:moveTo>
                  <a:lnTo>
                    <a:pt x="158039" y="288471"/>
                  </a:lnTo>
                  <a:lnTo>
                    <a:pt x="196070" y="326784"/>
                  </a:lnTo>
                  <a:cubicBezTo>
                    <a:pt x="206964" y="337301"/>
                    <a:pt x="219734" y="342560"/>
                    <a:pt x="234383" y="342560"/>
                  </a:cubicBezTo>
                  <a:cubicBezTo>
                    <a:pt x="249032" y="342560"/>
                    <a:pt x="261803" y="337301"/>
                    <a:pt x="272696" y="326784"/>
                  </a:cubicBezTo>
                  <a:lnTo>
                    <a:pt x="311008" y="288471"/>
                  </a:lnTo>
                  <a:lnTo>
                    <a:pt x="441722" y="288471"/>
                  </a:lnTo>
                  <a:cubicBezTo>
                    <a:pt x="449234" y="288471"/>
                    <a:pt x="455620" y="291101"/>
                    <a:pt x="460878" y="296359"/>
                  </a:cubicBezTo>
                  <a:cubicBezTo>
                    <a:pt x="466137" y="301618"/>
                    <a:pt x="468766" y="308003"/>
                    <a:pt x="468766" y="315516"/>
                  </a:cubicBezTo>
                  <a:lnTo>
                    <a:pt x="468766" y="405663"/>
                  </a:lnTo>
                  <a:cubicBezTo>
                    <a:pt x="468766" y="413175"/>
                    <a:pt x="466137" y="419561"/>
                    <a:pt x="460878" y="424819"/>
                  </a:cubicBezTo>
                  <a:cubicBezTo>
                    <a:pt x="455620" y="430078"/>
                    <a:pt x="449234" y="432707"/>
                    <a:pt x="441722" y="432707"/>
                  </a:cubicBezTo>
                  <a:lnTo>
                    <a:pt x="27044" y="432707"/>
                  </a:lnTo>
                  <a:cubicBezTo>
                    <a:pt x="19532" y="432707"/>
                    <a:pt x="13147" y="430078"/>
                    <a:pt x="7888" y="424819"/>
                  </a:cubicBezTo>
                  <a:cubicBezTo>
                    <a:pt x="2630" y="419561"/>
                    <a:pt x="0" y="413175"/>
                    <a:pt x="0" y="405663"/>
                  </a:cubicBezTo>
                  <a:lnTo>
                    <a:pt x="0" y="315516"/>
                  </a:lnTo>
                  <a:cubicBezTo>
                    <a:pt x="0" y="308003"/>
                    <a:pt x="2630" y="301618"/>
                    <a:pt x="7888" y="296359"/>
                  </a:cubicBezTo>
                  <a:cubicBezTo>
                    <a:pt x="13147" y="291101"/>
                    <a:pt x="19532" y="288471"/>
                    <a:pt x="27044" y="288471"/>
                  </a:cubicBezTo>
                  <a:close/>
                  <a:moveTo>
                    <a:pt x="198325" y="0"/>
                  </a:moveTo>
                  <a:lnTo>
                    <a:pt x="270443" y="0"/>
                  </a:lnTo>
                  <a:cubicBezTo>
                    <a:pt x="275326" y="0"/>
                    <a:pt x="279551" y="1784"/>
                    <a:pt x="283120" y="5353"/>
                  </a:cubicBezTo>
                  <a:cubicBezTo>
                    <a:pt x="286688" y="8921"/>
                    <a:pt x="288472" y="13147"/>
                    <a:pt x="288472" y="18030"/>
                  </a:cubicBezTo>
                  <a:lnTo>
                    <a:pt x="288472" y="144236"/>
                  </a:lnTo>
                  <a:lnTo>
                    <a:pt x="360590" y="144236"/>
                  </a:lnTo>
                  <a:cubicBezTo>
                    <a:pt x="368478" y="144236"/>
                    <a:pt x="374019" y="147898"/>
                    <a:pt x="377211" y="155222"/>
                  </a:cubicBezTo>
                  <a:cubicBezTo>
                    <a:pt x="380404" y="162922"/>
                    <a:pt x="379090" y="169496"/>
                    <a:pt x="373267" y="174942"/>
                  </a:cubicBezTo>
                  <a:lnTo>
                    <a:pt x="247061" y="301148"/>
                  </a:lnTo>
                  <a:cubicBezTo>
                    <a:pt x="243680" y="304717"/>
                    <a:pt x="239454" y="306501"/>
                    <a:pt x="234384" y="306501"/>
                  </a:cubicBezTo>
                  <a:cubicBezTo>
                    <a:pt x="229313" y="306501"/>
                    <a:pt x="225087" y="304717"/>
                    <a:pt x="221707" y="301148"/>
                  </a:cubicBezTo>
                  <a:lnTo>
                    <a:pt x="95500" y="174942"/>
                  </a:lnTo>
                  <a:cubicBezTo>
                    <a:pt x="89679" y="169496"/>
                    <a:pt x="88364" y="162922"/>
                    <a:pt x="91556" y="155222"/>
                  </a:cubicBezTo>
                  <a:cubicBezTo>
                    <a:pt x="94750" y="147898"/>
                    <a:pt x="100290" y="144236"/>
                    <a:pt x="108178" y="144236"/>
                  </a:cubicBezTo>
                  <a:lnTo>
                    <a:pt x="180295" y="144236"/>
                  </a:lnTo>
                  <a:lnTo>
                    <a:pt x="180295" y="18030"/>
                  </a:lnTo>
                  <a:cubicBezTo>
                    <a:pt x="180295" y="13147"/>
                    <a:pt x="182080" y="8921"/>
                    <a:pt x="185648" y="5353"/>
                  </a:cubicBezTo>
                  <a:cubicBezTo>
                    <a:pt x="189217" y="1784"/>
                    <a:pt x="193442" y="0"/>
                    <a:pt x="19832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148" y="4297953"/>
            <a:ext cx="548875" cy="50430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276894" y="802763"/>
            <a:ext cx="2490459" cy="465997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algn="l"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smtClean="0">
                <a:solidFill>
                  <a:prstClr val="white"/>
                </a:solidFill>
              </a:rPr>
              <a:t>OBIECTIVE STRATEGICE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8" name="Rounded Rectangle 14">
            <a:extLst>
              <a:ext uri="{FF2B5EF4-FFF2-40B4-BE49-F238E27FC236}">
                <a16:creationId xmlns:a16="http://schemas.microsoft.com/office/drawing/2014/main" id="{E98154B7-CAB3-44D4-B779-94DC9C1C390C}"/>
              </a:ext>
            </a:extLst>
          </p:cNvPr>
          <p:cNvSpPr/>
          <p:nvPr/>
        </p:nvSpPr>
        <p:spPr>
          <a:xfrm>
            <a:off x="3588945" y="802762"/>
            <a:ext cx="5231204" cy="465997"/>
          </a:xfrm>
          <a:prstGeom prst="rect">
            <a:avLst/>
          </a:prstGeom>
          <a:solidFill>
            <a:srgbClr val="E600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79996" tIns="179996" rIns="179996" bIns="179996" anchor="ctr"/>
          <a:lstStyle/>
          <a:p>
            <a:pPr defTabSz="914378">
              <a:spcBef>
                <a:spcPts val="0"/>
              </a:spcBef>
              <a:buClr>
                <a:srgbClr val="E60028"/>
              </a:buClr>
              <a:buSzPct val="85000"/>
              <a:defRPr/>
            </a:pPr>
            <a:r>
              <a:rPr lang="en-US" sz="1600" b="1" cap="all" dirty="0" err="1" smtClean="0">
                <a:solidFill>
                  <a:prstClr val="white"/>
                </a:solidFill>
              </a:rPr>
              <a:t>AMBITIi</a:t>
            </a:r>
            <a:endParaRPr lang="en-US" sz="1600" b="1" cap="all" dirty="0">
              <a:solidFill>
                <a:prstClr val="white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78382" y="1436823"/>
            <a:ext cx="2490458" cy="901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>
              <a:spcBef>
                <a:spcPts val="400"/>
              </a:spcBef>
              <a:buClr>
                <a:schemeClr val="bg2"/>
              </a:buClr>
            </a:pPr>
            <a:r>
              <a:rPr lang="ro-RO" sz="1600" b="1" dirty="0"/>
              <a:t>Îmbunătățirea eficienței proceselor</a:t>
            </a:r>
            <a:endParaRPr lang="en-US" sz="1600" b="1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63764" y="2743188"/>
            <a:ext cx="2490458" cy="9010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marL="0">
              <a:spcBef>
                <a:spcPts val="400"/>
              </a:spcBef>
              <a:buClr>
                <a:schemeClr val="bg2"/>
              </a:buClr>
            </a:pPr>
            <a:r>
              <a:rPr lang="en-US" sz="1600" b="1" dirty="0" err="1"/>
              <a:t>Cresterea</a:t>
            </a:r>
            <a:r>
              <a:rPr lang="en-US" sz="1600" b="1" dirty="0"/>
              <a:t> </a:t>
            </a:r>
            <a:r>
              <a:rPr lang="en-US" sz="1600" b="1" dirty="0" err="1"/>
              <a:t>volumelor</a:t>
            </a:r>
            <a:r>
              <a:rPr lang="en-US" sz="1600" b="1" dirty="0"/>
              <a:t> de </a:t>
            </a:r>
            <a:r>
              <a:rPr lang="en-US" sz="1600" b="1" dirty="0" err="1"/>
              <a:t>credite</a:t>
            </a:r>
            <a:r>
              <a:rPr lang="en-US" sz="1600" b="1" dirty="0"/>
              <a:t> </a:t>
            </a:r>
            <a:r>
              <a:rPr lang="en-US" sz="1600" b="1" dirty="0" err="1"/>
              <a:t>nou</a:t>
            </a:r>
            <a:r>
              <a:rPr lang="en-US" sz="1600" b="1" dirty="0"/>
              <a:t> </a:t>
            </a:r>
            <a:r>
              <a:rPr lang="en-US" sz="1600" b="1" dirty="0" err="1"/>
              <a:t>acordate</a:t>
            </a:r>
            <a:endParaRPr lang="en-US" sz="1600" kern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33878" y="4040409"/>
            <a:ext cx="2520344" cy="8145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pPr lvl="0"/>
            <a:r>
              <a:rPr lang="en-US" sz="1600" b="1" dirty="0" err="1"/>
              <a:t>Dezvoltarea</a:t>
            </a:r>
            <a:r>
              <a:rPr lang="en-US" sz="1600" b="1" dirty="0"/>
              <a:t> </a:t>
            </a:r>
            <a:r>
              <a:rPr lang="en-US" sz="1600" b="1" dirty="0" err="1"/>
              <a:t>Finantarii</a:t>
            </a:r>
            <a:r>
              <a:rPr lang="en-US" sz="1600" b="1" dirty="0"/>
              <a:t> </a:t>
            </a:r>
            <a:r>
              <a:rPr lang="en-US" sz="1600" b="1" dirty="0" err="1"/>
              <a:t>Durabile</a:t>
            </a:r>
            <a:r>
              <a:rPr lang="en-US" sz="1600" b="1" dirty="0"/>
              <a:t> cu Impact </a:t>
            </a:r>
            <a:r>
              <a:rPr lang="en-US" sz="1600" b="1" dirty="0" err="1"/>
              <a:t>Pozitiv</a:t>
            </a:r>
            <a:endParaRPr lang="en-US" sz="1600" b="1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366A2CD-78CA-4E1B-96DA-BFDADC736950}"/>
              </a:ext>
            </a:extLst>
          </p:cNvPr>
          <p:cNvSpPr/>
          <p:nvPr/>
        </p:nvSpPr>
        <p:spPr>
          <a:xfrm>
            <a:off x="276894" y="5161507"/>
            <a:ext cx="2490458" cy="81451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108000" tIns="36000" rIns="108000" bIns="36000" rtlCol="0" anchor="ctr">
            <a:noAutofit/>
          </a:bodyPr>
          <a:lstStyle/>
          <a:p>
            <a:r>
              <a:rPr lang="en-US" sz="1600" b="1" dirty="0" err="1" smtClean="0"/>
              <a:t>Imbunatatirea</a:t>
            </a:r>
            <a:r>
              <a:rPr lang="ro-RO" sz="1600" b="1" dirty="0" smtClean="0"/>
              <a:t> sinergii</a:t>
            </a:r>
            <a:r>
              <a:rPr lang="en-US" sz="1600" b="1" dirty="0" err="1" smtClean="0"/>
              <a:t>lor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78474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371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ct 2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75811693"/>
              </p:ext>
            </p:extLst>
          </p:nvPr>
        </p:nvGraphicFramePr>
        <p:xfrm>
          <a:off x="-62155" y="1542938"/>
          <a:ext cx="4797714" cy="22459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6" name="Worksheet" r:id="rId8" imgW="5137212" imgH="2171700" progId="Excel.Sheet.12">
                  <p:link updateAutomatic="1"/>
                </p:oleObj>
              </mc:Choice>
              <mc:Fallback>
                <p:oleObj name="Worksheet" r:id="rId8" imgW="5137212" imgH="217170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-62155" y="1542938"/>
                        <a:ext cx="4797714" cy="22459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9264734"/>
              </p:ext>
            </p:extLst>
          </p:nvPr>
        </p:nvGraphicFramePr>
        <p:xfrm>
          <a:off x="4552919" y="1023239"/>
          <a:ext cx="4591081" cy="30730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7" name="Worksheet" r:id="rId10" imgW="5137212" imgH="2762119" progId="Excel.Sheet.12">
                  <p:link updateAutomatic="1"/>
                </p:oleObj>
              </mc:Choice>
              <mc:Fallback>
                <p:oleObj name="Worksheet" r:id="rId10" imgW="5137212" imgH="276211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552919" y="1023239"/>
                        <a:ext cx="4591081" cy="30730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b="1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 vert="horz"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BUDGET 2021-  INDICATORI CHEI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5</a:t>
            </a:r>
            <a:endParaRPr lang="en-GB" sz="800" b="1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2240106" y="6449116"/>
            <a:ext cx="2088232" cy="408884"/>
          </a:xfrm>
          <a:prstGeom prst="roundRect">
            <a:avLst>
              <a:gd name="adj" fmla="val 16667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  <a:spcBef>
                <a:spcPts val="300"/>
              </a:spcBef>
            </a:pPr>
            <a:r>
              <a:rPr lang="en-US" sz="900" i="1" smtClean="0"/>
              <a:t>* </a:t>
            </a:r>
            <a:r>
              <a:rPr lang="en-US" sz="900" i="1" dirty="0" err="1" smtClean="0"/>
              <a:t>variatie</a:t>
            </a:r>
            <a:r>
              <a:rPr lang="en-US" sz="900" i="1" dirty="0" smtClean="0"/>
              <a:t> la curs de </a:t>
            </a:r>
            <a:r>
              <a:rPr lang="en-US" sz="900" i="1" dirty="0" err="1" smtClean="0"/>
              <a:t>schimb</a:t>
            </a:r>
            <a:r>
              <a:rPr lang="en-US" sz="900" i="1" dirty="0" smtClean="0"/>
              <a:t> constant</a:t>
            </a:r>
            <a:endParaRPr lang="en-US" sz="900" i="1" baseline="30000" dirty="0"/>
          </a:p>
        </p:txBody>
      </p:sp>
      <p:sp>
        <p:nvSpPr>
          <p:cNvPr id="8" name="Rectangle 7"/>
          <p:cNvSpPr/>
          <p:nvPr/>
        </p:nvSpPr>
        <p:spPr>
          <a:xfrm>
            <a:off x="165102" y="3954879"/>
            <a:ext cx="4286041" cy="1754326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b="1" dirty="0" err="1" smtClean="0"/>
              <a:t>Creditele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nete</a:t>
            </a:r>
            <a:r>
              <a:rPr lang="en-US" sz="1200" b="1" dirty="0" smtClean="0"/>
              <a:t> </a:t>
            </a:r>
            <a:r>
              <a:rPr lang="en-US" sz="1200" dirty="0" err="1" smtClean="0"/>
              <a:t>sunt</a:t>
            </a:r>
            <a:r>
              <a:rPr lang="en-US" sz="1200" dirty="0" smtClean="0"/>
              <a:t> </a:t>
            </a:r>
            <a:r>
              <a:rPr lang="en-US" sz="1200" dirty="0" err="1" smtClean="0"/>
              <a:t>asteptate</a:t>
            </a:r>
            <a:r>
              <a:rPr lang="en-US" sz="1200" dirty="0" smtClean="0"/>
              <a:t> </a:t>
            </a:r>
            <a:r>
              <a:rPr lang="en-US" sz="1200" dirty="0" err="1" smtClean="0"/>
              <a:t>sa</a:t>
            </a:r>
            <a:r>
              <a:rPr lang="en-US" sz="1200" dirty="0" smtClean="0"/>
              <a:t> </a:t>
            </a:r>
            <a:r>
              <a:rPr lang="en-US" sz="1200" dirty="0" err="1" smtClean="0"/>
              <a:t>reintre</a:t>
            </a:r>
            <a:r>
              <a:rPr lang="en-US" sz="1200" dirty="0" smtClean="0"/>
              <a:t> </a:t>
            </a:r>
            <a:r>
              <a:rPr lang="en-US" sz="1200" dirty="0" err="1" smtClean="0"/>
              <a:t>pe</a:t>
            </a:r>
            <a:r>
              <a:rPr lang="en-US" sz="1200" dirty="0" smtClean="0"/>
              <a:t> o </a:t>
            </a:r>
            <a:r>
              <a:rPr lang="en-US" sz="1200" dirty="0" err="1" smtClean="0"/>
              <a:t>curba</a:t>
            </a:r>
            <a:r>
              <a:rPr lang="en-US" sz="1200" dirty="0" smtClean="0"/>
              <a:t> </a:t>
            </a:r>
            <a:r>
              <a:rPr lang="en-US" sz="1200" dirty="0" err="1" smtClean="0"/>
              <a:t>ascendenta</a:t>
            </a:r>
            <a:r>
              <a:rPr lang="en-US" sz="1200" dirty="0" smtClean="0"/>
              <a:t> </a:t>
            </a:r>
            <a:r>
              <a:rPr lang="en-US" sz="1200" dirty="0" err="1" smtClean="0"/>
              <a:t>incepand</a:t>
            </a:r>
            <a:r>
              <a:rPr lang="en-US" sz="1200" dirty="0" smtClean="0"/>
              <a:t> cu 2021.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 </a:t>
            </a:r>
            <a:r>
              <a:rPr lang="en-US" sz="1200" dirty="0" err="1" smtClean="0"/>
              <a:t>Soldul</a:t>
            </a:r>
            <a:r>
              <a:rPr lang="en-US" sz="1200" dirty="0" smtClean="0"/>
              <a:t> </a:t>
            </a:r>
            <a:r>
              <a:rPr lang="en-US" sz="1200" dirty="0" err="1" smtClean="0"/>
              <a:t>creditelor</a:t>
            </a:r>
            <a:r>
              <a:rPr lang="en-US" sz="1200" dirty="0" smtClean="0"/>
              <a:t> </a:t>
            </a:r>
            <a:r>
              <a:rPr lang="en-US" sz="1200" dirty="0" err="1" smtClean="0"/>
              <a:t>acordate</a:t>
            </a:r>
            <a:r>
              <a:rPr lang="en-US" sz="1200" dirty="0" smtClean="0"/>
              <a:t> </a:t>
            </a:r>
            <a:r>
              <a:rPr lang="en-US" sz="1200" dirty="0" err="1" smtClean="0"/>
              <a:t>clientilor</a:t>
            </a:r>
            <a:r>
              <a:rPr lang="en-US" sz="1200" dirty="0" smtClean="0"/>
              <a:t> Retail </a:t>
            </a:r>
            <a:r>
              <a:rPr lang="en-US" sz="1200" dirty="0" err="1" smtClean="0"/>
              <a:t>va</a:t>
            </a:r>
            <a:r>
              <a:rPr lang="en-US" sz="1200" dirty="0" smtClean="0"/>
              <a:t> </a:t>
            </a:r>
            <a:r>
              <a:rPr lang="en-US" sz="1200" dirty="0" err="1" smtClean="0"/>
              <a:t>ramane</a:t>
            </a:r>
            <a:r>
              <a:rPr lang="en-US" sz="1200" dirty="0" smtClean="0"/>
              <a:t> constant, in </a:t>
            </a:r>
            <a:r>
              <a:rPr lang="en-US" sz="1200" dirty="0" err="1" smtClean="0"/>
              <a:t>ciuda</a:t>
            </a:r>
            <a:r>
              <a:rPr lang="en-US" sz="1200" dirty="0" smtClean="0"/>
              <a:t> </a:t>
            </a:r>
            <a:r>
              <a:rPr lang="en-US" sz="1200" dirty="0" err="1" smtClean="0"/>
              <a:t>reactivarii</a:t>
            </a:r>
            <a:r>
              <a:rPr lang="en-US" sz="1200" dirty="0" smtClean="0"/>
              <a:t> </a:t>
            </a:r>
            <a:r>
              <a:rPr lang="en-US" sz="1200" dirty="0" err="1" smtClean="0"/>
              <a:t>productiei</a:t>
            </a:r>
            <a:r>
              <a:rPr lang="en-US" sz="1200" dirty="0" smtClean="0"/>
              <a:t>. </a:t>
            </a:r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/>
              <a:t> </a:t>
            </a:r>
            <a:r>
              <a:rPr lang="en-US" sz="1200" dirty="0" err="1" smtClean="0"/>
              <a:t>Crestere</a:t>
            </a:r>
            <a:r>
              <a:rPr lang="en-US" sz="1200" dirty="0" smtClean="0"/>
              <a:t> </a:t>
            </a:r>
            <a:r>
              <a:rPr lang="en-US" sz="1200" dirty="0" err="1"/>
              <a:t>semnificativa</a:t>
            </a:r>
            <a:r>
              <a:rPr lang="en-US" sz="1200" dirty="0"/>
              <a:t> a </a:t>
            </a:r>
            <a:r>
              <a:rPr lang="en-US" sz="1200" dirty="0" err="1"/>
              <a:t>creditelor</a:t>
            </a:r>
            <a:r>
              <a:rPr lang="en-US" sz="1200" dirty="0"/>
              <a:t> </a:t>
            </a:r>
            <a:r>
              <a:rPr lang="en-US" sz="1200" dirty="0" err="1"/>
              <a:t>acordate</a:t>
            </a:r>
            <a:r>
              <a:rPr lang="en-US" sz="1200" dirty="0"/>
              <a:t> </a:t>
            </a:r>
            <a:r>
              <a:rPr lang="en-US" sz="1200" dirty="0" smtClean="0"/>
              <a:t>  </a:t>
            </a:r>
            <a:r>
              <a:rPr lang="en-US" sz="1200" dirty="0" err="1" smtClean="0"/>
              <a:t>companiilor</a:t>
            </a:r>
            <a:r>
              <a:rPr lang="en-US" sz="1200" dirty="0"/>
              <a:t>, cu o </a:t>
            </a:r>
            <a:r>
              <a:rPr lang="en-US" sz="1200" dirty="0" err="1"/>
              <a:t>contributie</a:t>
            </a:r>
            <a:r>
              <a:rPr lang="en-US" sz="1200" dirty="0"/>
              <a:t> </a:t>
            </a:r>
            <a:r>
              <a:rPr lang="en-US" sz="1200" dirty="0" err="1"/>
              <a:t>importanta</a:t>
            </a:r>
            <a:r>
              <a:rPr lang="en-US" sz="1200" dirty="0"/>
              <a:t> </a:t>
            </a:r>
            <a:r>
              <a:rPr lang="en-US" sz="1200" dirty="0" err="1"/>
              <a:t>atat</a:t>
            </a:r>
            <a:r>
              <a:rPr lang="en-US" sz="1200" dirty="0"/>
              <a:t> a </a:t>
            </a:r>
            <a:r>
              <a:rPr lang="en-US" sz="1200" dirty="0" err="1"/>
              <a:t>sectorului</a:t>
            </a:r>
            <a:r>
              <a:rPr lang="en-US" sz="1200" dirty="0"/>
              <a:t>  </a:t>
            </a:r>
            <a:r>
              <a:rPr lang="en-US" sz="1200" dirty="0" err="1"/>
              <a:t>mari</a:t>
            </a:r>
            <a:r>
              <a:rPr lang="en-US" sz="1200" dirty="0"/>
              <a:t> </a:t>
            </a:r>
            <a:r>
              <a:rPr lang="en-US" sz="1200" dirty="0" err="1"/>
              <a:t>companii</a:t>
            </a:r>
            <a:r>
              <a:rPr lang="en-US" sz="1200" dirty="0"/>
              <a:t>, cat </a:t>
            </a:r>
            <a:r>
              <a:rPr lang="en-US" sz="1200" dirty="0" err="1"/>
              <a:t>si</a:t>
            </a:r>
            <a:r>
              <a:rPr lang="en-US" sz="1200" dirty="0"/>
              <a:t> a </a:t>
            </a:r>
            <a:r>
              <a:rPr lang="en-US" sz="1200" dirty="0" err="1"/>
              <a:t>finantarii</a:t>
            </a:r>
            <a:r>
              <a:rPr lang="en-US" sz="1200" dirty="0"/>
              <a:t> IMM-</a:t>
            </a:r>
            <a:r>
              <a:rPr lang="en-US" sz="1200" dirty="0" err="1"/>
              <a:t>urilor</a:t>
            </a:r>
            <a:r>
              <a:rPr lang="en-US" sz="1200" dirty="0"/>
              <a:t>, </a:t>
            </a:r>
            <a:r>
              <a:rPr lang="en-US" sz="1200" dirty="0" err="1"/>
              <a:t>datorita</a:t>
            </a:r>
            <a:r>
              <a:rPr lang="en-US" sz="1200" dirty="0"/>
              <a:t> in special </a:t>
            </a:r>
            <a:r>
              <a:rPr lang="en-US" sz="1200" dirty="0" err="1"/>
              <a:t>programului</a:t>
            </a:r>
            <a:r>
              <a:rPr lang="en-US" sz="1200" dirty="0"/>
              <a:t> IMM Invest. </a:t>
            </a:r>
          </a:p>
          <a:p>
            <a:pPr marL="628650" lvl="1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4837775" y="3919979"/>
            <a:ext cx="3982375" cy="2677656"/>
          </a:xfrm>
          <a:prstGeom prst="rect">
            <a:avLst/>
          </a:prstGeom>
          <a:ln w="1270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o-RO" sz="1200" b="1" dirty="0"/>
              <a:t>Baza de depozite </a:t>
            </a:r>
            <a:r>
              <a:rPr lang="ro-RO" sz="1200" dirty="0"/>
              <a:t>se așteaptă să scadă ușor în 2021 având în vedere</a:t>
            </a:r>
            <a:r>
              <a:rPr lang="ro-RO" sz="1200" dirty="0" smtClean="0"/>
              <a:t>:</a:t>
            </a:r>
            <a:endParaRPr lang="en-US" sz="1200" dirty="0" smtClean="0"/>
          </a:p>
          <a:p>
            <a:pPr lvl="1" indent="-55563" algn="l">
              <a:buClr>
                <a:srgbClr val="C00000"/>
              </a:buClr>
            </a:pPr>
            <a:r>
              <a:rPr lang="ro-RO" sz="1200" dirty="0" smtClean="0"/>
              <a:t> </a:t>
            </a:r>
            <a:r>
              <a:rPr lang="ro-RO" sz="1200" dirty="0"/>
              <a:t>- </a:t>
            </a:r>
            <a:r>
              <a:rPr lang="en-US" sz="1200" dirty="0" err="1"/>
              <a:t>incurajarea</a:t>
            </a:r>
            <a:r>
              <a:rPr lang="en-US" sz="1200" dirty="0"/>
              <a:t> </a:t>
            </a:r>
            <a:r>
              <a:rPr lang="ro-RO" sz="1200" dirty="0"/>
              <a:t>diversificării, </a:t>
            </a:r>
            <a:r>
              <a:rPr lang="en-US" sz="1200" dirty="0" err="1" smtClean="0"/>
              <a:t>ceea</a:t>
            </a:r>
            <a:r>
              <a:rPr lang="en-US" sz="1200" dirty="0" smtClean="0"/>
              <a:t> </a:t>
            </a:r>
            <a:r>
              <a:rPr lang="en-US" sz="1200" dirty="0" err="1" smtClean="0"/>
              <a:t>ce</a:t>
            </a:r>
            <a:r>
              <a:rPr lang="en-US" sz="1200" dirty="0" smtClean="0"/>
              <a:t> le </a:t>
            </a:r>
            <a:r>
              <a:rPr lang="en-US" sz="1200" dirty="0" err="1" smtClean="0"/>
              <a:t>va</a:t>
            </a:r>
            <a:r>
              <a:rPr lang="en-US" sz="1200" dirty="0" smtClean="0"/>
              <a:t> </a:t>
            </a:r>
            <a:r>
              <a:rPr lang="en-US" sz="1200" dirty="0" err="1" smtClean="0"/>
              <a:t>permite</a:t>
            </a:r>
            <a:r>
              <a:rPr lang="ro-RO" sz="1200" dirty="0" smtClean="0"/>
              <a:t> </a:t>
            </a:r>
            <a:r>
              <a:rPr lang="ro-RO" sz="1200" dirty="0"/>
              <a:t>clienților noștri să aleagă soluțiile de economisire care se potrivesc cel mai bine obiectivelor lor </a:t>
            </a:r>
            <a:endParaRPr lang="en-US" sz="1200" dirty="0"/>
          </a:p>
          <a:p>
            <a:pPr marR="0" lvl="1" algn="l">
              <a:buClr>
                <a:srgbClr val="C00000"/>
              </a:buClr>
            </a:pPr>
            <a:r>
              <a:rPr lang="ro-RO" sz="1200" dirty="0" smtClean="0"/>
              <a:t>- </a:t>
            </a:r>
            <a:r>
              <a:rPr lang="ro-RO" sz="1200" dirty="0"/>
              <a:t>o tendință </a:t>
            </a:r>
            <a:r>
              <a:rPr lang="en-US" sz="1200" dirty="0"/>
              <a:t>de </a:t>
            </a:r>
            <a:r>
              <a:rPr lang="en-US" sz="1200" dirty="0" err="1"/>
              <a:t>estompare</a:t>
            </a:r>
            <a:r>
              <a:rPr lang="en-US" sz="1200" dirty="0"/>
              <a:t> a </a:t>
            </a:r>
            <a:r>
              <a:rPr lang="en-US" sz="1200" dirty="0" err="1"/>
              <a:t>economisirii</a:t>
            </a:r>
            <a:r>
              <a:rPr lang="ro-RO" sz="1200" dirty="0"/>
              <a:t>, întrucât comportamentul</a:t>
            </a:r>
            <a:r>
              <a:rPr lang="en-US" sz="1200" dirty="0"/>
              <a:t> de </a:t>
            </a:r>
            <a:r>
              <a:rPr lang="en-US" sz="1200" dirty="0" err="1"/>
              <a:t>consum</a:t>
            </a:r>
            <a:r>
              <a:rPr lang="en-US" sz="1200" dirty="0"/>
              <a:t> </a:t>
            </a:r>
            <a:r>
              <a:rPr lang="ro-RO" sz="1200" dirty="0"/>
              <a:t>va r</a:t>
            </a:r>
            <a:r>
              <a:rPr lang="en-US" sz="1200" dirty="0" err="1"/>
              <a:t>eveni</a:t>
            </a:r>
            <a:r>
              <a:rPr lang="en-US" sz="1200" dirty="0"/>
              <a:t> la un </a:t>
            </a:r>
            <a:r>
              <a:rPr lang="en-US" sz="1200" dirty="0" err="1"/>
              <a:t>ritm</a:t>
            </a:r>
            <a:r>
              <a:rPr lang="en-US" sz="1200" dirty="0"/>
              <a:t> normal</a:t>
            </a:r>
            <a:r>
              <a:rPr lang="ro-RO" sz="1200" dirty="0"/>
              <a:t>, odată ce activitatea economică </a:t>
            </a:r>
            <a:r>
              <a:rPr lang="en-US" sz="1200" dirty="0"/>
              <a:t>se </a:t>
            </a:r>
            <a:r>
              <a:rPr lang="en-US" sz="1200" dirty="0" err="1"/>
              <a:t>va</a:t>
            </a:r>
            <a:r>
              <a:rPr lang="en-US" sz="1200" dirty="0"/>
              <a:t> </a:t>
            </a:r>
            <a:r>
              <a:rPr lang="en-US" sz="1200" dirty="0" err="1"/>
              <a:t>relansa</a:t>
            </a:r>
            <a:endParaRPr lang="en-US" sz="1200" dirty="0"/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/>
              <a:t>Pe</a:t>
            </a:r>
            <a:r>
              <a:rPr lang="en-US" sz="1200" dirty="0" smtClean="0"/>
              <a:t> </a:t>
            </a:r>
            <a:r>
              <a:rPr lang="en-US" sz="1200" dirty="0" err="1" smtClean="0"/>
              <a:t>ansamblu</a:t>
            </a:r>
            <a:r>
              <a:rPr lang="en-US" sz="1200" dirty="0" smtClean="0"/>
              <a:t>, </a:t>
            </a:r>
            <a:r>
              <a:rPr lang="en-US" sz="1200" b="1" dirty="0" err="1" smtClean="0"/>
              <a:t>raportul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credite</a:t>
            </a:r>
            <a:r>
              <a:rPr lang="en-US" sz="1200" b="1" dirty="0" smtClean="0"/>
              <a:t>/ </a:t>
            </a:r>
            <a:r>
              <a:rPr lang="en-US" sz="1200" b="1" dirty="0" err="1" smtClean="0"/>
              <a:t>depozite</a:t>
            </a:r>
            <a:r>
              <a:rPr lang="en-US" sz="1200" b="1" dirty="0" smtClean="0"/>
              <a:t> </a:t>
            </a:r>
            <a:r>
              <a:rPr lang="en-US" sz="1200" dirty="0" err="1" smtClean="0"/>
              <a:t>este</a:t>
            </a:r>
            <a:r>
              <a:rPr lang="en-US" sz="1200" dirty="0" smtClean="0"/>
              <a:t> </a:t>
            </a:r>
            <a:r>
              <a:rPr lang="en-US" sz="1200" dirty="0" err="1" smtClean="0"/>
              <a:t>asteptat</a:t>
            </a:r>
            <a:r>
              <a:rPr lang="en-US" sz="1200" dirty="0" smtClean="0"/>
              <a:t> </a:t>
            </a:r>
            <a:r>
              <a:rPr lang="en-US" sz="1200" dirty="0" err="1" smtClean="0"/>
              <a:t>sa</a:t>
            </a:r>
            <a:r>
              <a:rPr lang="en-US" sz="1200" dirty="0" smtClean="0"/>
              <a:t> </a:t>
            </a:r>
            <a:r>
              <a:rPr lang="en-US" sz="1200" dirty="0" err="1" smtClean="0"/>
              <a:t>creasca</a:t>
            </a:r>
            <a:r>
              <a:rPr lang="en-US" sz="1200" dirty="0" smtClean="0"/>
              <a:t> cu 4 </a:t>
            </a:r>
            <a:r>
              <a:rPr lang="en-US" sz="1200" dirty="0" err="1" smtClean="0"/>
              <a:t>puncte</a:t>
            </a:r>
            <a:r>
              <a:rPr lang="en-US" sz="1200" dirty="0" smtClean="0"/>
              <a:t> </a:t>
            </a:r>
            <a:r>
              <a:rPr lang="en-US" sz="1200" dirty="0"/>
              <a:t>in </a:t>
            </a:r>
            <a:r>
              <a:rPr lang="en-US" sz="1200" dirty="0" smtClean="0"/>
              <a:t>2021, de la 61% in 2020 la 65% la </a:t>
            </a:r>
            <a:r>
              <a:rPr lang="en-US" sz="1200" dirty="0" err="1" smtClean="0"/>
              <a:t>finalul</a:t>
            </a:r>
            <a:r>
              <a:rPr lang="en-US" sz="1200" dirty="0" smtClean="0"/>
              <a:t> </a:t>
            </a:r>
            <a:r>
              <a:rPr lang="en-US" sz="1200" dirty="0" err="1" smtClean="0"/>
              <a:t>lui</a:t>
            </a:r>
            <a:r>
              <a:rPr lang="en-US" sz="1200" dirty="0" smtClean="0"/>
              <a:t> 2021.</a:t>
            </a:r>
            <a:endParaRPr lang="en-US" sz="1200" dirty="0"/>
          </a:p>
          <a:p>
            <a:pPr marL="171450" indent="-171450" algn="l"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US" sz="1200" b="1" dirty="0"/>
          </a:p>
          <a:p>
            <a:pPr algn="l">
              <a:buClr>
                <a:srgbClr val="C00000"/>
              </a:buClr>
            </a:pPr>
            <a:endParaRPr lang="en-US" sz="1200" dirty="0"/>
          </a:p>
        </p:txBody>
      </p:sp>
      <p:sp>
        <p:nvSpPr>
          <p:cNvPr id="20" name="Rectangle 19"/>
          <p:cNvSpPr/>
          <p:nvPr/>
        </p:nvSpPr>
        <p:spPr>
          <a:xfrm>
            <a:off x="259736" y="817047"/>
            <a:ext cx="4022437" cy="351625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 algn="l"/>
            <a:r>
              <a:rPr lang="en-US" sz="1600" b="1" dirty="0" err="1" smtClean="0">
                <a:solidFill>
                  <a:schemeClr val="bg1"/>
                </a:solidFill>
              </a:rPr>
              <a:t>Credite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</a:rPr>
              <a:t>nete</a:t>
            </a:r>
            <a:r>
              <a:rPr lang="en-US" sz="1600" b="1" dirty="0" smtClean="0">
                <a:solidFill>
                  <a:schemeClr val="bg1"/>
                </a:solidFill>
              </a:rPr>
              <a:t>| </a:t>
            </a:r>
            <a:r>
              <a:rPr lang="en-US" sz="1600" b="1" dirty="0" err="1" smtClean="0">
                <a:solidFill>
                  <a:schemeClr val="bg1"/>
                </a:solidFill>
              </a:rPr>
              <a:t>mld</a:t>
            </a:r>
            <a:r>
              <a:rPr lang="en-US" sz="1600" b="1" dirty="0" smtClean="0">
                <a:solidFill>
                  <a:schemeClr val="bg1"/>
                </a:solidFill>
              </a:rPr>
              <a:t> RON 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97713" y="801205"/>
            <a:ext cx="4022437" cy="338554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1" algn="l"/>
            <a:r>
              <a:rPr lang="en-US" sz="1600" b="1" dirty="0" err="1" smtClean="0">
                <a:solidFill>
                  <a:schemeClr val="bg1"/>
                </a:solidFill>
              </a:rPr>
              <a:t>Depozite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chemeClr val="bg1"/>
                </a:solidFill>
              </a:rPr>
              <a:t>| 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b="1" dirty="0" err="1" smtClean="0">
                <a:solidFill>
                  <a:schemeClr val="bg1"/>
                </a:solidFill>
              </a:rPr>
              <a:t>mld</a:t>
            </a:r>
            <a:r>
              <a:rPr lang="en-US" sz="1600" b="1" dirty="0" smtClean="0">
                <a:solidFill>
                  <a:schemeClr val="bg1"/>
                </a:solidFill>
              </a:rPr>
              <a:t> RON 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3547773" y="1334190"/>
            <a:ext cx="806719" cy="1930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2470308" y="1334191"/>
            <a:ext cx="806719" cy="1930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6838708" y="1159143"/>
            <a:ext cx="806719" cy="1930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7833250" y="1179800"/>
            <a:ext cx="806719" cy="1930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/y*</a:t>
            </a:r>
          </a:p>
        </p:txBody>
      </p:sp>
    </p:spTree>
    <p:extLst>
      <p:ext uri="{BB962C8B-B14F-4D97-AF65-F5344CB8AC3E}">
        <p14:creationId xmlns:p14="http://schemas.microsoft.com/office/powerpoint/2010/main" val="353619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755576" y="3306982"/>
            <a:ext cx="8136904" cy="15194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396875" lvl="0" indent="-171450" algn="l"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200" kern="0" dirty="0" err="1"/>
              <a:t>influenta</a:t>
            </a:r>
            <a:r>
              <a:rPr lang="en-US" sz="1200" kern="0" dirty="0"/>
              <a:t> </a:t>
            </a:r>
            <a:r>
              <a:rPr lang="en-US" sz="1200" kern="0" dirty="0" err="1"/>
              <a:t>semnificativa</a:t>
            </a:r>
            <a:r>
              <a:rPr lang="en-US" sz="1200" kern="0" dirty="0"/>
              <a:t> </a:t>
            </a:r>
            <a:r>
              <a:rPr lang="en-US" sz="1200" kern="0" dirty="0" smtClean="0"/>
              <a:t>a </a:t>
            </a:r>
            <a:r>
              <a:rPr lang="en-US" sz="1200" dirty="0" smtClean="0"/>
              <a:t>“</a:t>
            </a:r>
            <a:r>
              <a:rPr lang="en-US" sz="1200" b="1" dirty="0" err="1" smtClean="0"/>
              <a:t>cheltuielilor</a:t>
            </a:r>
            <a:r>
              <a:rPr lang="en-US" sz="1200" b="1" dirty="0" smtClean="0"/>
              <a:t> de context</a:t>
            </a:r>
            <a:r>
              <a:rPr lang="en-US" sz="1200" dirty="0" smtClean="0"/>
              <a:t>” </a:t>
            </a:r>
          </a:p>
          <a:p>
            <a:pPr marL="902970" lvl="1" indent="-171450" algn="l">
              <a:buClr>
                <a:srgbClr val="E60028"/>
              </a:buClr>
              <a:buFontTx/>
              <a:buChar char="-"/>
            </a:pPr>
            <a:r>
              <a:rPr lang="en-US" sz="1200" kern="0" dirty="0" err="1"/>
              <a:t>continuarea</a:t>
            </a:r>
            <a:r>
              <a:rPr lang="en-US" sz="1200" kern="0" dirty="0"/>
              <a:t> </a:t>
            </a:r>
            <a:r>
              <a:rPr lang="en-US" sz="1200" kern="0" dirty="0" err="1"/>
              <a:t>presiunii</a:t>
            </a:r>
            <a:r>
              <a:rPr lang="en-US" sz="1200" kern="0" dirty="0"/>
              <a:t> </a:t>
            </a:r>
            <a:r>
              <a:rPr lang="en-US" sz="1200" kern="0" dirty="0" err="1"/>
              <a:t>asupra</a:t>
            </a:r>
            <a:r>
              <a:rPr lang="en-US" sz="1200" kern="0" dirty="0"/>
              <a:t> </a:t>
            </a:r>
            <a:r>
              <a:rPr lang="en-US" sz="1200" kern="0" dirty="0" err="1"/>
              <a:t>costurilor</a:t>
            </a:r>
            <a:r>
              <a:rPr lang="en-US" sz="1200" kern="0" dirty="0"/>
              <a:t> </a:t>
            </a:r>
            <a:r>
              <a:rPr lang="en-US" sz="1200" kern="0" dirty="0" err="1"/>
              <a:t>salariale</a:t>
            </a:r>
            <a:r>
              <a:rPr lang="en-US" sz="1200" kern="0" dirty="0"/>
              <a:t> </a:t>
            </a:r>
            <a:endParaRPr lang="en-US" sz="1200" kern="0" dirty="0" smtClean="0"/>
          </a:p>
          <a:p>
            <a:pPr marL="902970" lvl="1" indent="-171450" algn="l">
              <a:buClr>
                <a:srgbClr val="E60028"/>
              </a:buClr>
              <a:buFontTx/>
              <a:buChar char="-"/>
            </a:pPr>
            <a:r>
              <a:rPr lang="en-US" sz="1200" dirty="0" err="1" smtClean="0"/>
              <a:t>costurile</a:t>
            </a:r>
            <a:r>
              <a:rPr lang="en-US" sz="1200" dirty="0" smtClean="0"/>
              <a:t> </a:t>
            </a:r>
            <a:r>
              <a:rPr lang="en-US" sz="1200" dirty="0" err="1" smtClean="0"/>
              <a:t>asociate</a:t>
            </a:r>
            <a:r>
              <a:rPr lang="en-US" sz="1200" dirty="0" smtClean="0"/>
              <a:t> </a:t>
            </a:r>
            <a:r>
              <a:rPr lang="en-US" sz="1200" dirty="0" err="1" smtClean="0"/>
              <a:t>crizei</a:t>
            </a:r>
            <a:r>
              <a:rPr lang="en-US" sz="1200" dirty="0" smtClean="0"/>
              <a:t> </a:t>
            </a:r>
            <a:r>
              <a:rPr lang="en-US" sz="1200" dirty="0" err="1" smtClean="0"/>
              <a:t>sanitare</a:t>
            </a:r>
            <a:endParaRPr lang="en-US" sz="1200" dirty="0"/>
          </a:p>
          <a:p>
            <a:pPr marL="902970" lvl="1" indent="-171450" algn="l">
              <a:buClr>
                <a:srgbClr val="E60028"/>
              </a:buClr>
              <a:buFontTx/>
              <a:buChar char="-"/>
            </a:pPr>
            <a:r>
              <a:rPr lang="en-US" sz="1200" kern="0" dirty="0" smtClean="0"/>
              <a:t>impact  </a:t>
            </a:r>
            <a:r>
              <a:rPr lang="en-US" sz="1200" kern="0" dirty="0" err="1" smtClean="0"/>
              <a:t>mecanic</a:t>
            </a:r>
            <a:r>
              <a:rPr lang="en-US" sz="1200" kern="0" dirty="0" smtClean="0"/>
              <a:t> </a:t>
            </a:r>
            <a:r>
              <a:rPr lang="en-US" sz="1200" kern="0" dirty="0" err="1" smtClean="0"/>
              <a:t>negativ</a:t>
            </a:r>
            <a:r>
              <a:rPr lang="en-US" sz="1200" kern="0" dirty="0" smtClean="0"/>
              <a:t> al </a:t>
            </a:r>
            <a:r>
              <a:rPr lang="en-US" sz="1200" kern="0" dirty="0" err="1" smtClean="0"/>
              <a:t>ipotezei</a:t>
            </a:r>
            <a:r>
              <a:rPr lang="en-US" sz="1200" kern="0" dirty="0" smtClean="0"/>
              <a:t> de </a:t>
            </a:r>
            <a:r>
              <a:rPr lang="en-US" sz="1200" kern="0" dirty="0" err="1" smtClean="0"/>
              <a:t>depreciere</a:t>
            </a:r>
            <a:r>
              <a:rPr lang="en-US" sz="1200" kern="0" dirty="0" smtClean="0"/>
              <a:t> a </a:t>
            </a:r>
            <a:r>
              <a:rPr lang="en-US" sz="1200" kern="0" dirty="0" err="1"/>
              <a:t>cursului</a:t>
            </a:r>
            <a:r>
              <a:rPr lang="en-US" sz="1200" kern="0" dirty="0"/>
              <a:t> de </a:t>
            </a:r>
            <a:r>
              <a:rPr lang="en-US" sz="1200" kern="0" dirty="0" err="1"/>
              <a:t>schimb</a:t>
            </a:r>
            <a:endParaRPr lang="en-US" sz="1200" kern="0" dirty="0"/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200" b="1" kern="0" dirty="0" err="1" smtClean="0"/>
              <a:t>necesitatea</a:t>
            </a:r>
            <a:r>
              <a:rPr lang="en-US" sz="1200" b="1" kern="0" dirty="0" smtClean="0"/>
              <a:t> </a:t>
            </a:r>
            <a:r>
              <a:rPr lang="en-US" sz="1200" b="1" kern="0" dirty="0" err="1" smtClean="0"/>
              <a:t>cresterii</a:t>
            </a:r>
            <a:r>
              <a:rPr lang="en-US" sz="1200" b="1" kern="0" dirty="0" smtClean="0"/>
              <a:t> </a:t>
            </a:r>
            <a:r>
              <a:rPr lang="en-US" sz="1200" b="1" kern="0" dirty="0" err="1" smtClean="0"/>
              <a:t>investitiilor</a:t>
            </a:r>
            <a:r>
              <a:rPr lang="en-US" sz="1200" b="1" kern="0" dirty="0" smtClean="0"/>
              <a:t> IT </a:t>
            </a:r>
            <a:r>
              <a:rPr lang="en-US" sz="1200" kern="0" dirty="0"/>
              <a:t>in </a:t>
            </a:r>
            <a:r>
              <a:rPr lang="en-US" sz="1200" kern="0" dirty="0" err="1"/>
              <a:t>vederea</a:t>
            </a:r>
            <a:r>
              <a:rPr lang="en-US" sz="1200" kern="0" dirty="0"/>
              <a:t> </a:t>
            </a:r>
            <a:r>
              <a:rPr lang="en-US" sz="1200" kern="0" dirty="0" err="1"/>
              <a:t>accelerarii</a:t>
            </a:r>
            <a:r>
              <a:rPr lang="en-US" sz="1200" kern="0" dirty="0"/>
              <a:t> </a:t>
            </a:r>
            <a:r>
              <a:rPr lang="en-US" sz="1200" kern="0" dirty="0" err="1"/>
              <a:t>transformarii</a:t>
            </a:r>
            <a:r>
              <a:rPr lang="en-US" sz="1200" kern="0" dirty="0"/>
              <a:t> </a:t>
            </a:r>
            <a:r>
              <a:rPr lang="en-US" sz="1200" kern="0" dirty="0" err="1" smtClean="0"/>
              <a:t>bancii</a:t>
            </a:r>
            <a:endParaRPr lang="en-US" sz="1200" dirty="0" smtClean="0">
              <a:ea typeface="ＭＳ Ｐゴシック" pitchFamily="34" charset="-128"/>
            </a:endParaRPr>
          </a:p>
          <a:p>
            <a:pPr marL="396875" indent="-171450" algn="l" fontAlgn="auto">
              <a:spcBef>
                <a:spcPts val="0"/>
              </a:spcBef>
              <a:spcAft>
                <a:spcPts val="400"/>
              </a:spcAft>
              <a:buClr>
                <a:srgbClr val="E60028"/>
              </a:buClr>
              <a:buFont typeface="Wingdings" panose="05000000000000000000" pitchFamily="2" charset="2"/>
              <a:buChar char="§"/>
              <a:defRPr/>
            </a:pPr>
            <a:r>
              <a:rPr lang="en-US" sz="1200" dirty="0" smtClean="0">
                <a:ea typeface="ＭＳ Ｐゴシック" pitchFamily="34" charset="-128"/>
              </a:rPr>
              <a:t>Dar, la </a:t>
            </a:r>
            <a:r>
              <a:rPr lang="en-US" sz="1200" dirty="0" err="1" smtClean="0">
                <a:ea typeface="ＭＳ Ｐゴシック" pitchFamily="34" charset="-128"/>
              </a:rPr>
              <a:t>nivel</a:t>
            </a:r>
            <a:r>
              <a:rPr lang="en-US" sz="1200" dirty="0" smtClean="0">
                <a:ea typeface="ＭＳ Ｐゴシック" pitchFamily="34" charset="-128"/>
              </a:rPr>
              <a:t> global,  </a:t>
            </a:r>
            <a:r>
              <a:rPr lang="en-US" sz="1200" dirty="0" err="1" smtClean="0">
                <a:ea typeface="ＭＳ Ｐゴシック" pitchFamily="34" charset="-128"/>
              </a:rPr>
              <a:t>costurile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sunt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tinute</a:t>
            </a:r>
            <a:r>
              <a:rPr lang="en-US" sz="1200" dirty="0" smtClean="0">
                <a:ea typeface="ＭＳ Ｐゴシック" pitchFamily="34" charset="-128"/>
              </a:rPr>
              <a:t> sub </a:t>
            </a:r>
            <a:r>
              <a:rPr lang="en-US" sz="1200" b="1" dirty="0" smtClean="0">
                <a:ea typeface="ＭＳ Ｐゴシック" pitchFamily="34" charset="-128"/>
              </a:rPr>
              <a:t>un control strict, </a:t>
            </a:r>
            <a:r>
              <a:rPr lang="en-US" sz="1200" dirty="0" err="1" smtClean="0">
                <a:ea typeface="ＭＳ Ｐゴシック" pitchFamily="34" charset="-128"/>
              </a:rPr>
              <a:t>datorita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optimizarilor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structurale</a:t>
            </a:r>
            <a:r>
              <a:rPr lang="en-US" sz="1200" dirty="0" smtClean="0">
                <a:ea typeface="ＭＳ Ｐゴシック" pitchFamily="34" charset="-128"/>
              </a:rPr>
              <a:t> ( </a:t>
            </a:r>
            <a:r>
              <a:rPr lang="en-US" sz="1200" dirty="0" err="1" smtClean="0">
                <a:ea typeface="ＭＳ Ｐゴシック" pitchFamily="34" charset="-128"/>
              </a:rPr>
              <a:t>automatizare</a:t>
            </a:r>
            <a:r>
              <a:rPr lang="en-US" sz="1200" dirty="0" smtClean="0">
                <a:ea typeface="ＭＳ Ｐゴシック" pitchFamily="34" charset="-128"/>
              </a:rPr>
              <a:t>, </a:t>
            </a:r>
            <a:r>
              <a:rPr lang="en-US" sz="1200" dirty="0" err="1" smtClean="0">
                <a:ea typeface="ＭＳ Ｐゴシック" pitchFamily="34" charset="-128"/>
              </a:rPr>
              <a:t>continuarea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redimensionarii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retelei</a:t>
            </a:r>
            <a:r>
              <a:rPr lang="en-US" sz="1200" dirty="0" smtClean="0">
                <a:ea typeface="ＭＳ Ｐゴシック" pitchFamily="34" charset="-128"/>
              </a:rPr>
              <a:t>, </a:t>
            </a:r>
            <a:r>
              <a:rPr lang="en-US" sz="1200" dirty="0" err="1" smtClean="0">
                <a:ea typeface="ＭＳ Ｐゴシック" pitchFamily="34" charset="-128"/>
              </a:rPr>
              <a:t>cresterea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productivitatii</a:t>
            </a:r>
            <a:r>
              <a:rPr lang="en-US" sz="1200" dirty="0" smtClean="0">
                <a:ea typeface="ＭＳ Ｐゴシック" pitchFamily="34" charset="-128"/>
              </a:rPr>
              <a:t> </a:t>
            </a:r>
            <a:r>
              <a:rPr lang="en-US" sz="1200" dirty="0" err="1" smtClean="0">
                <a:ea typeface="ＭＳ Ｐゴシック" pitchFamily="34" charset="-128"/>
              </a:rPr>
              <a:t>structurilor</a:t>
            </a:r>
            <a:r>
              <a:rPr lang="en-US" sz="1200" dirty="0" smtClean="0">
                <a:ea typeface="ＭＳ Ｐゴシック" pitchFamily="34" charset="-128"/>
              </a:rPr>
              <a:t> Back office)</a:t>
            </a:r>
            <a:endParaRPr lang="en-US" sz="1200" b="1" dirty="0" smtClean="0">
              <a:ea typeface="ＭＳ Ｐゴシック" pitchFamily="34" charset="-128"/>
            </a:endParaRPr>
          </a:p>
        </p:txBody>
      </p:sp>
      <p:cxnSp>
        <p:nvCxnSpPr>
          <p:cNvPr id="10" name="Straight Connector 12"/>
          <p:cNvCxnSpPr/>
          <p:nvPr/>
        </p:nvCxnSpPr>
        <p:spPr bwMode="auto">
          <a:xfrm>
            <a:off x="360487" y="6165304"/>
            <a:ext cx="8428893" cy="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Rectangle 3"/>
          <p:cNvSpPr/>
          <p:nvPr/>
        </p:nvSpPr>
        <p:spPr>
          <a:xfrm>
            <a:off x="362546" y="2933439"/>
            <a:ext cx="2151551" cy="307777"/>
          </a:xfrm>
          <a:prstGeom prst="rect">
            <a:avLst/>
          </a:prstGeom>
          <a:solidFill>
            <a:srgbClr val="E60028"/>
          </a:solidFill>
        </p:spPr>
        <p:txBody>
          <a:bodyPr wrap="non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 err="1">
                <a:solidFill>
                  <a:schemeClr val="bg1"/>
                </a:solidFill>
              </a:rPr>
              <a:t>Cheltuieli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operationale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07254" y="5077767"/>
            <a:ext cx="1943162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 err="1">
                <a:solidFill>
                  <a:schemeClr val="bg1"/>
                </a:solidFill>
              </a:rPr>
              <a:t>Costul</a:t>
            </a:r>
            <a:r>
              <a:rPr lang="en-US" sz="1400" b="1" dirty="0">
                <a:solidFill>
                  <a:schemeClr val="bg1"/>
                </a:solidFill>
              </a:rPr>
              <a:t> net al </a:t>
            </a:r>
            <a:r>
              <a:rPr lang="en-US" sz="1400" b="1" dirty="0" err="1">
                <a:solidFill>
                  <a:schemeClr val="bg1"/>
                </a:solidFill>
              </a:rPr>
              <a:t>riscului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755576" y="5476636"/>
            <a:ext cx="8136904" cy="6886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200" dirty="0" smtClean="0"/>
              <a:t>In 2020 </a:t>
            </a:r>
            <a:r>
              <a:rPr lang="en-US" sz="1200" b="1" dirty="0" err="1" smtClean="0"/>
              <a:t>Costul</a:t>
            </a:r>
            <a:r>
              <a:rPr lang="en-US" sz="1200" b="1" dirty="0" smtClean="0"/>
              <a:t> Net al </a:t>
            </a:r>
            <a:r>
              <a:rPr lang="en-US" sz="1200" b="1" dirty="0" err="1" smtClean="0"/>
              <a:t>Riscului</a:t>
            </a:r>
            <a:r>
              <a:rPr lang="en-US" sz="1200" b="1" dirty="0" smtClean="0"/>
              <a:t> </a:t>
            </a:r>
            <a:r>
              <a:rPr lang="en-US" sz="1200" dirty="0" smtClean="0"/>
              <a:t>a </a:t>
            </a:r>
            <a:r>
              <a:rPr lang="en-US" sz="1200" dirty="0" err="1" smtClean="0"/>
              <a:t>fost</a:t>
            </a:r>
            <a:r>
              <a:rPr lang="en-US" sz="1200" b="1" dirty="0" smtClean="0"/>
              <a:t> </a:t>
            </a:r>
            <a:r>
              <a:rPr lang="en-US" sz="1200" dirty="0" err="1" smtClean="0"/>
              <a:t>impactat</a:t>
            </a:r>
            <a:r>
              <a:rPr lang="en-US" sz="1200" dirty="0" smtClean="0"/>
              <a:t> </a:t>
            </a:r>
            <a:r>
              <a:rPr lang="en-US" sz="1200" dirty="0" err="1" smtClean="0"/>
              <a:t>semnificativ</a:t>
            </a:r>
            <a:r>
              <a:rPr lang="en-US" sz="1200" dirty="0" smtClean="0"/>
              <a:t> de </a:t>
            </a:r>
            <a:r>
              <a:rPr lang="en-US" sz="1200" dirty="0" err="1" smtClean="0"/>
              <a:t>componenta</a:t>
            </a:r>
            <a:r>
              <a:rPr lang="en-US" sz="1200" dirty="0" smtClean="0"/>
              <a:t> </a:t>
            </a:r>
            <a:r>
              <a:rPr lang="en-US" sz="1200" dirty="0" err="1" smtClean="0"/>
              <a:t>anticipativa</a:t>
            </a:r>
            <a:r>
              <a:rPr lang="en-US" sz="1200" dirty="0" smtClean="0"/>
              <a:t> a </a:t>
            </a:r>
            <a:r>
              <a:rPr lang="en-US" sz="1200" dirty="0" err="1" smtClean="0"/>
              <a:t>scenariilor</a:t>
            </a:r>
            <a:r>
              <a:rPr lang="en-US" sz="1200" dirty="0" smtClean="0"/>
              <a:t> </a:t>
            </a:r>
            <a:r>
              <a:rPr lang="en-US" sz="1200" dirty="0" err="1" smtClean="0"/>
              <a:t>macroeconomice</a:t>
            </a:r>
            <a:endParaRPr lang="en-US" sz="1200" dirty="0" smtClean="0"/>
          </a:p>
          <a:p>
            <a:pPr algn="l"/>
            <a:r>
              <a:rPr lang="en-US" sz="1200" dirty="0" smtClean="0"/>
              <a:t> ( FL IFRS 9), </a:t>
            </a:r>
            <a:r>
              <a:rPr lang="en-US" sz="1200" dirty="0" err="1" smtClean="0"/>
              <a:t>avand</a:t>
            </a:r>
            <a:r>
              <a:rPr lang="en-US" sz="1200" dirty="0" smtClean="0"/>
              <a:t> ca </a:t>
            </a:r>
            <a:r>
              <a:rPr lang="en-US" sz="1200" dirty="0" err="1" smtClean="0"/>
              <a:t>efect</a:t>
            </a:r>
            <a:r>
              <a:rPr lang="en-US" sz="1200" dirty="0" smtClean="0"/>
              <a:t> o </a:t>
            </a:r>
            <a:r>
              <a:rPr lang="en-US" sz="1200" dirty="0" err="1"/>
              <a:t>c</a:t>
            </a:r>
            <a:r>
              <a:rPr lang="en-US" sz="1200" dirty="0" err="1" smtClean="0"/>
              <a:t>restere</a:t>
            </a:r>
            <a:r>
              <a:rPr lang="en-US" sz="1200" dirty="0" smtClean="0"/>
              <a:t> a </a:t>
            </a:r>
            <a:r>
              <a:rPr lang="en-US" sz="1200" dirty="0" err="1" smtClean="0"/>
              <a:t>nivelului</a:t>
            </a:r>
            <a:r>
              <a:rPr lang="en-US" sz="1200" dirty="0" smtClean="0"/>
              <a:t> de </a:t>
            </a:r>
            <a:r>
              <a:rPr lang="en-US" sz="1200" dirty="0" err="1" smtClean="0"/>
              <a:t>provizionare</a:t>
            </a:r>
            <a:r>
              <a:rPr lang="en-US" sz="1200" dirty="0" smtClean="0"/>
              <a:t> </a:t>
            </a:r>
            <a:r>
              <a:rPr lang="en-US" sz="1200" dirty="0" err="1" smtClean="0"/>
              <a:t>pentru</a:t>
            </a:r>
            <a:r>
              <a:rPr lang="en-US" sz="1200" dirty="0" smtClean="0"/>
              <a:t> </a:t>
            </a:r>
            <a:r>
              <a:rPr lang="en-US" sz="1200" dirty="0" err="1" smtClean="0"/>
              <a:t>portofoliile</a:t>
            </a:r>
            <a:r>
              <a:rPr lang="en-US" sz="1200" dirty="0" smtClean="0"/>
              <a:t> </a:t>
            </a:r>
            <a:r>
              <a:rPr lang="en-US" sz="1200" dirty="0" err="1" smtClean="0"/>
              <a:t>sanatoase</a:t>
            </a:r>
            <a:r>
              <a:rPr lang="en-US" sz="1200" dirty="0" smtClean="0"/>
              <a:t>. In 2021, </a:t>
            </a:r>
            <a:r>
              <a:rPr lang="en-US" sz="1200" dirty="0" err="1" smtClean="0"/>
              <a:t>este</a:t>
            </a:r>
            <a:r>
              <a:rPr lang="en-US" sz="1200" dirty="0" smtClean="0"/>
              <a:t> </a:t>
            </a:r>
            <a:r>
              <a:rPr lang="en-US" sz="1200" dirty="0" err="1" smtClean="0"/>
              <a:t>posibila</a:t>
            </a:r>
            <a:r>
              <a:rPr lang="en-US" sz="1200" dirty="0" smtClean="0"/>
              <a:t>  o </a:t>
            </a:r>
          </a:p>
          <a:p>
            <a:pPr algn="l"/>
            <a:r>
              <a:rPr lang="en-US" sz="1200" dirty="0" smtClean="0"/>
              <a:t> </a:t>
            </a:r>
            <a:r>
              <a:rPr lang="en-US" sz="1200" dirty="0" err="1" smtClean="0"/>
              <a:t>crestere</a:t>
            </a:r>
            <a:r>
              <a:rPr lang="en-US" sz="1200" dirty="0" smtClean="0"/>
              <a:t> a </a:t>
            </a:r>
            <a:r>
              <a:rPr lang="en-US" sz="1200" dirty="0" err="1" smtClean="0"/>
              <a:t>creditelor</a:t>
            </a:r>
            <a:r>
              <a:rPr lang="en-US" sz="1200" dirty="0" smtClean="0"/>
              <a:t> </a:t>
            </a:r>
            <a:r>
              <a:rPr lang="en-US" sz="1200" dirty="0" err="1" smtClean="0"/>
              <a:t>neperformante</a:t>
            </a:r>
            <a:r>
              <a:rPr lang="en-US" sz="1200" dirty="0" smtClean="0"/>
              <a:t> (</a:t>
            </a:r>
            <a:r>
              <a:rPr lang="en-US" sz="1200" dirty="0" err="1" smtClean="0"/>
              <a:t>odata</a:t>
            </a:r>
            <a:r>
              <a:rPr lang="en-US" sz="1200" dirty="0" smtClean="0"/>
              <a:t> cu </a:t>
            </a:r>
            <a:r>
              <a:rPr lang="en-US" sz="1200" dirty="0" err="1" smtClean="0"/>
              <a:t>terminarea</a:t>
            </a:r>
            <a:r>
              <a:rPr lang="en-US" sz="1200" dirty="0" smtClean="0"/>
              <a:t> </a:t>
            </a:r>
            <a:r>
              <a:rPr lang="en-US" sz="1200" dirty="0" err="1" smtClean="0"/>
              <a:t>Moratoriului</a:t>
            </a:r>
            <a:r>
              <a:rPr lang="en-US" sz="1200" dirty="0" smtClean="0"/>
              <a:t>), </a:t>
            </a:r>
            <a:r>
              <a:rPr lang="en-US" sz="1200" dirty="0" err="1" smtClean="0"/>
              <a:t>dar</a:t>
            </a:r>
            <a:r>
              <a:rPr lang="en-US" sz="1200" dirty="0" smtClean="0"/>
              <a:t> </a:t>
            </a:r>
            <a:r>
              <a:rPr lang="en-US" sz="1200" dirty="0" err="1" smtClean="0"/>
              <a:t>si</a:t>
            </a:r>
            <a:r>
              <a:rPr lang="en-US" sz="1200" dirty="0" smtClean="0"/>
              <a:t> o </a:t>
            </a:r>
            <a:r>
              <a:rPr lang="en-US" sz="1200" dirty="0" err="1" smtClean="0"/>
              <a:t>imbunatatire</a:t>
            </a:r>
            <a:r>
              <a:rPr lang="en-US" sz="1200" dirty="0" smtClean="0"/>
              <a:t> a </a:t>
            </a:r>
            <a:r>
              <a:rPr lang="en-US" sz="1200" dirty="0" err="1" smtClean="0"/>
              <a:t>componentei</a:t>
            </a:r>
            <a:r>
              <a:rPr lang="en-US" sz="1200" dirty="0" smtClean="0"/>
              <a:t> anticipative</a:t>
            </a:r>
          </a:p>
          <a:p>
            <a:pPr algn="l"/>
            <a:r>
              <a:rPr lang="en-US" sz="1200" dirty="0" smtClean="0"/>
              <a:t> a </a:t>
            </a:r>
            <a:r>
              <a:rPr lang="en-US" sz="1200" dirty="0" err="1" smtClean="0"/>
              <a:t>scenariilor</a:t>
            </a:r>
            <a:r>
              <a:rPr lang="en-US" sz="1200" dirty="0" smtClean="0"/>
              <a:t>  </a:t>
            </a:r>
            <a:r>
              <a:rPr lang="en-US" sz="1200" dirty="0" err="1"/>
              <a:t>macroeconomice</a:t>
            </a:r>
            <a:r>
              <a:rPr lang="en-US" sz="1200" dirty="0"/>
              <a:t> </a:t>
            </a:r>
            <a:r>
              <a:rPr lang="en-US" sz="1200" dirty="0" smtClean="0"/>
              <a:t> (FL IFRS9).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47942" y="816967"/>
            <a:ext cx="1943161" cy="307777"/>
          </a:xfrm>
          <a:prstGeom prst="rect">
            <a:avLst/>
          </a:prstGeom>
          <a:solidFill>
            <a:srgbClr val="E60028"/>
          </a:solidFill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400"/>
              </a:spcAft>
              <a:defRPr/>
            </a:pPr>
            <a:r>
              <a:rPr lang="en-US" sz="1400" b="1" dirty="0" err="1">
                <a:solidFill>
                  <a:schemeClr val="bg1"/>
                </a:solidFill>
              </a:rPr>
              <a:t>Venitul</a:t>
            </a:r>
            <a:r>
              <a:rPr lang="en-US" sz="1400" b="1" dirty="0">
                <a:solidFill>
                  <a:schemeClr val="bg1"/>
                </a:solidFill>
              </a:rPr>
              <a:t> net </a:t>
            </a:r>
            <a:r>
              <a:rPr lang="en-US" sz="1400" b="1" dirty="0" err="1">
                <a:solidFill>
                  <a:schemeClr val="bg1"/>
                </a:solidFill>
              </a:rPr>
              <a:t>banca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755576" y="1192161"/>
            <a:ext cx="8136904" cy="16583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US" sz="1200" b="1" dirty="0"/>
              <a:t> </a:t>
            </a:r>
            <a:r>
              <a:rPr lang="en-US" sz="1200" dirty="0" smtClean="0"/>
              <a:t>Se </a:t>
            </a:r>
            <a:r>
              <a:rPr lang="en-US" sz="1200" dirty="0" err="1" smtClean="0"/>
              <a:t>estimeaza</a:t>
            </a:r>
            <a:r>
              <a:rPr lang="en-US" sz="1200" dirty="0" smtClean="0"/>
              <a:t> ca </a:t>
            </a:r>
            <a:r>
              <a:rPr lang="en-US" sz="1200" b="1" dirty="0" err="1" smtClean="0"/>
              <a:t>Venitul</a:t>
            </a:r>
            <a:r>
              <a:rPr lang="en-US" sz="1200" b="1" dirty="0" smtClean="0"/>
              <a:t> Net </a:t>
            </a:r>
            <a:r>
              <a:rPr lang="en-US" sz="1200" b="1" dirty="0" err="1" smtClean="0"/>
              <a:t>Bancar</a:t>
            </a:r>
            <a:r>
              <a:rPr lang="en-US" sz="1200" b="1" dirty="0" smtClean="0"/>
              <a:t> </a:t>
            </a:r>
            <a:r>
              <a:rPr lang="en-US" sz="1200" dirty="0" err="1" smtClean="0"/>
              <a:t>sa</a:t>
            </a:r>
            <a:r>
              <a:rPr lang="en-US" sz="1200" dirty="0" smtClean="0"/>
              <a:t> </a:t>
            </a:r>
            <a:r>
              <a:rPr lang="en-US" sz="1200" dirty="0" err="1" smtClean="0"/>
              <a:t>beneficieze</a:t>
            </a:r>
            <a:r>
              <a:rPr lang="en-US" sz="1200" dirty="0" smtClean="0"/>
              <a:t> de o </a:t>
            </a:r>
            <a:r>
              <a:rPr lang="en-US" sz="1200" dirty="0" err="1" smtClean="0"/>
              <a:t>crestere</a:t>
            </a:r>
            <a:r>
              <a:rPr lang="en-US" sz="1200" dirty="0" smtClean="0"/>
              <a:t> a </a:t>
            </a:r>
            <a:r>
              <a:rPr lang="en-US" sz="1200" dirty="0" err="1" smtClean="0"/>
              <a:t>volumului</a:t>
            </a:r>
            <a:r>
              <a:rPr lang="en-US" sz="1200" dirty="0" smtClean="0"/>
              <a:t> de </a:t>
            </a:r>
            <a:r>
              <a:rPr lang="en-US" sz="1200" dirty="0" err="1" smtClean="0"/>
              <a:t>credite</a:t>
            </a:r>
            <a:r>
              <a:rPr lang="en-US" sz="1200" dirty="0" smtClean="0"/>
              <a:t> (</a:t>
            </a:r>
            <a:r>
              <a:rPr lang="en-US" sz="1200" dirty="0" err="1" smtClean="0"/>
              <a:t>volumul</a:t>
            </a:r>
            <a:r>
              <a:rPr lang="en-US" sz="1200" dirty="0" smtClean="0"/>
              <a:t> </a:t>
            </a:r>
            <a:r>
              <a:rPr lang="en-US" sz="1200" dirty="0" err="1" smtClean="0"/>
              <a:t>creditelor</a:t>
            </a:r>
            <a:r>
              <a:rPr lang="en-US" sz="1200" dirty="0" smtClean="0"/>
              <a:t> </a:t>
            </a:r>
            <a:r>
              <a:rPr lang="en-US" sz="1200" dirty="0" err="1" smtClean="0"/>
              <a:t>nete</a:t>
            </a:r>
            <a:r>
              <a:rPr lang="en-US" sz="1200" dirty="0" smtClean="0"/>
              <a:t> </a:t>
            </a:r>
            <a:r>
              <a:rPr lang="en-US" sz="1200" dirty="0" err="1" smtClean="0"/>
              <a:t>bugetat</a:t>
            </a:r>
            <a:r>
              <a:rPr lang="en-US" sz="1200" dirty="0" smtClean="0"/>
              <a:t> in  </a:t>
            </a:r>
            <a:r>
              <a:rPr lang="en-US" sz="1200" dirty="0" err="1" smtClean="0"/>
              <a:t>crestere</a:t>
            </a:r>
            <a:r>
              <a:rPr lang="en-US" sz="1200" dirty="0" smtClean="0"/>
              <a:t> cu +3.2%)  </a:t>
            </a:r>
            <a:r>
              <a:rPr lang="en-US" sz="1200" dirty="0" err="1" smtClean="0"/>
              <a:t>si</a:t>
            </a:r>
            <a:r>
              <a:rPr lang="en-US" sz="1200" dirty="0" smtClean="0"/>
              <a:t> de </a:t>
            </a:r>
            <a:r>
              <a:rPr lang="en-US" sz="1200" dirty="0" err="1" smtClean="0"/>
              <a:t>efecte</a:t>
            </a:r>
            <a:r>
              <a:rPr lang="en-US" sz="1200" dirty="0"/>
              <a:t> </a:t>
            </a:r>
            <a:r>
              <a:rPr lang="en-US" sz="1200" dirty="0" smtClean="0"/>
              <a:t>positive de </a:t>
            </a:r>
            <a:r>
              <a:rPr lang="en-US" sz="1200" dirty="0" err="1"/>
              <a:t>structura</a:t>
            </a:r>
            <a:r>
              <a:rPr lang="en-US" sz="1200" dirty="0"/>
              <a:t>, </a:t>
            </a:r>
            <a:r>
              <a:rPr lang="en-US" sz="1200" dirty="0" smtClean="0"/>
              <a:t>in </a:t>
            </a:r>
            <a:r>
              <a:rPr lang="en-US" sz="1200" dirty="0" err="1" smtClean="0"/>
              <a:t>timp</a:t>
            </a:r>
            <a:r>
              <a:rPr lang="en-US" sz="1200" dirty="0" smtClean="0"/>
              <a:t> </a:t>
            </a:r>
            <a:r>
              <a:rPr lang="en-US" sz="1200" dirty="0" err="1" smtClean="0"/>
              <a:t>ce</a:t>
            </a:r>
            <a:r>
              <a:rPr lang="en-US" sz="1200" dirty="0" smtClean="0"/>
              <a:t> </a:t>
            </a:r>
            <a:r>
              <a:rPr lang="en-US" sz="1200" dirty="0" err="1" smtClean="0"/>
              <a:t>scaderea</a:t>
            </a:r>
            <a:r>
              <a:rPr lang="en-US" sz="1200" dirty="0" smtClean="0"/>
              <a:t> </a:t>
            </a:r>
            <a:r>
              <a:rPr lang="en-US" sz="1200" dirty="0" err="1" smtClean="0"/>
              <a:t>ratelor</a:t>
            </a:r>
            <a:r>
              <a:rPr lang="en-US" sz="1200" dirty="0" smtClean="0"/>
              <a:t> de </a:t>
            </a:r>
            <a:r>
              <a:rPr lang="en-US" sz="1200" dirty="0" err="1" smtClean="0"/>
              <a:t>dobanda</a:t>
            </a:r>
            <a:r>
              <a:rPr lang="en-US" sz="1200" dirty="0" smtClean="0"/>
              <a:t> </a:t>
            </a:r>
            <a:r>
              <a:rPr lang="en-US" sz="1200" dirty="0" err="1" smtClean="0"/>
              <a:t>va</a:t>
            </a:r>
            <a:r>
              <a:rPr lang="en-US" sz="1200" dirty="0" smtClean="0"/>
              <a:t> </a:t>
            </a:r>
            <a:r>
              <a:rPr lang="en-US" sz="1200" dirty="0" err="1" smtClean="0"/>
              <a:t>avea</a:t>
            </a:r>
            <a:r>
              <a:rPr lang="en-US" sz="1200" dirty="0" smtClean="0"/>
              <a:t> un </a:t>
            </a:r>
            <a:r>
              <a:rPr lang="en-US" sz="1200" dirty="0" err="1" smtClean="0"/>
              <a:t>efect</a:t>
            </a:r>
            <a:r>
              <a:rPr lang="en-US" sz="1200" dirty="0" smtClean="0"/>
              <a:t> </a:t>
            </a:r>
            <a:r>
              <a:rPr lang="en-US" sz="1200" dirty="0" err="1" smtClean="0"/>
              <a:t>negativ</a:t>
            </a:r>
            <a:r>
              <a:rPr lang="en-US" sz="1200" dirty="0" smtClean="0"/>
              <a:t>.</a:t>
            </a:r>
            <a:endParaRPr lang="en-US" sz="1200" dirty="0"/>
          </a:p>
          <a:p>
            <a:pPr algn="l"/>
            <a:endParaRPr lang="en-US" sz="1200" dirty="0"/>
          </a:p>
          <a:p>
            <a:pPr algn="l"/>
            <a:r>
              <a:rPr lang="en-US" sz="1200" b="1" dirty="0" smtClean="0"/>
              <a:t> </a:t>
            </a:r>
            <a:r>
              <a:rPr lang="en-US" sz="1200" b="1" dirty="0" err="1" smtClean="0"/>
              <a:t>Veniturile</a:t>
            </a:r>
            <a:r>
              <a:rPr lang="en-US" sz="1200" b="1" dirty="0" smtClean="0"/>
              <a:t> din </a:t>
            </a:r>
            <a:r>
              <a:rPr lang="en-US" sz="1200" b="1" dirty="0" err="1" smtClean="0"/>
              <a:t>comisioane</a:t>
            </a:r>
            <a:r>
              <a:rPr lang="en-US" sz="1200" b="1" dirty="0" smtClean="0"/>
              <a:t>  </a:t>
            </a:r>
            <a:r>
              <a:rPr lang="en-US" sz="1200" dirty="0" err="1" smtClean="0"/>
              <a:t>vor</a:t>
            </a:r>
            <a:r>
              <a:rPr lang="en-US" sz="1200" dirty="0" smtClean="0"/>
              <a:t> fi </a:t>
            </a:r>
            <a:r>
              <a:rPr lang="en-US" sz="1200" dirty="0" err="1" smtClean="0"/>
              <a:t>impactate</a:t>
            </a:r>
            <a:r>
              <a:rPr lang="en-US" sz="1200" dirty="0" smtClean="0"/>
              <a:t> de </a:t>
            </a:r>
            <a:r>
              <a:rPr lang="en-US" sz="1200" dirty="0" err="1" smtClean="0"/>
              <a:t>factori</a:t>
            </a:r>
            <a:r>
              <a:rPr lang="en-US" sz="1200" dirty="0" smtClean="0"/>
              <a:t> </a:t>
            </a:r>
            <a:r>
              <a:rPr lang="en-US" sz="1200" dirty="0" err="1" smtClean="0"/>
              <a:t>opusi</a:t>
            </a:r>
            <a:r>
              <a:rPr lang="en-US" sz="1200" dirty="0" smtClean="0"/>
              <a:t>:</a:t>
            </a:r>
            <a:endParaRPr lang="en-US" sz="1200" dirty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200" dirty="0" err="1"/>
              <a:t>p</a:t>
            </a:r>
            <a:r>
              <a:rPr lang="en-US" sz="1200" dirty="0" err="1" smtClean="0"/>
              <a:t>resiunea</a:t>
            </a:r>
            <a:r>
              <a:rPr lang="en-US" sz="1200" dirty="0" smtClean="0"/>
              <a:t> </a:t>
            </a:r>
            <a:r>
              <a:rPr lang="en-US" sz="1200" dirty="0" err="1" smtClean="0"/>
              <a:t>preturilor</a:t>
            </a:r>
            <a:r>
              <a:rPr lang="en-US" sz="1200" dirty="0" smtClean="0"/>
              <a:t>, cu </a:t>
            </a:r>
            <a:r>
              <a:rPr lang="en-US" sz="1200" dirty="0" err="1" smtClean="0"/>
              <a:t>constrangeri</a:t>
            </a:r>
            <a:r>
              <a:rPr lang="en-US" sz="1200" dirty="0" smtClean="0"/>
              <a:t> normative </a:t>
            </a:r>
            <a:r>
              <a:rPr lang="en-US" sz="1200" dirty="0" err="1" smtClean="0"/>
              <a:t>si</a:t>
            </a:r>
            <a:r>
              <a:rPr lang="en-US" sz="1200" dirty="0" smtClean="0"/>
              <a:t> competitive </a:t>
            </a:r>
            <a:r>
              <a:rPr lang="en-US" sz="1200" dirty="0" err="1" smtClean="0"/>
              <a:t>va</a:t>
            </a:r>
            <a:r>
              <a:rPr lang="en-US" sz="1200" dirty="0" smtClean="0"/>
              <a:t> </a:t>
            </a:r>
            <a:r>
              <a:rPr lang="en-US" sz="1200" dirty="0" err="1" smtClean="0"/>
              <a:t>impacta</a:t>
            </a:r>
            <a:r>
              <a:rPr lang="en-US" sz="1200" dirty="0" smtClean="0"/>
              <a:t> </a:t>
            </a:r>
            <a:r>
              <a:rPr lang="en-US" sz="1200" dirty="0" err="1" smtClean="0"/>
              <a:t>negativ</a:t>
            </a:r>
            <a:r>
              <a:rPr lang="en-US" sz="1200" dirty="0" smtClean="0"/>
              <a:t> </a:t>
            </a:r>
            <a:r>
              <a:rPr lang="en-US" sz="1200" dirty="0" err="1" smtClean="0"/>
              <a:t>veniturile</a:t>
            </a:r>
            <a:r>
              <a:rPr lang="en-US" sz="1200" dirty="0" smtClean="0"/>
              <a:t> </a:t>
            </a:r>
            <a:r>
              <a:rPr lang="en-US" sz="1200" dirty="0" err="1" smtClean="0"/>
              <a:t>tranzactionale</a:t>
            </a:r>
            <a:endParaRPr lang="en-US" sz="1200" dirty="0" smtClean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200" dirty="0" err="1" smtClean="0"/>
              <a:t>cresterea</a:t>
            </a:r>
            <a:r>
              <a:rPr lang="en-US" sz="1200" dirty="0" smtClean="0"/>
              <a:t> </a:t>
            </a:r>
            <a:r>
              <a:rPr lang="en-US" sz="1200" dirty="0" err="1" smtClean="0"/>
              <a:t>volumului</a:t>
            </a:r>
            <a:r>
              <a:rPr lang="en-US" sz="1200" dirty="0" smtClean="0"/>
              <a:t> </a:t>
            </a:r>
            <a:r>
              <a:rPr lang="en-US" sz="1200" dirty="0" err="1" smtClean="0"/>
              <a:t>tranzactiilor</a:t>
            </a:r>
            <a:endParaRPr lang="en-US" sz="1200" dirty="0" smtClean="0"/>
          </a:p>
          <a:p>
            <a:pPr marL="517525" indent="-171450" algn="l">
              <a:buClr>
                <a:srgbClr val="E60028"/>
              </a:buClr>
              <a:buFont typeface="Wingdings" panose="05000000000000000000" pitchFamily="2" charset="2"/>
              <a:buChar char="§"/>
            </a:pPr>
            <a:r>
              <a:rPr lang="en-US" sz="1200" dirty="0" err="1"/>
              <a:t>d</a:t>
            </a:r>
            <a:r>
              <a:rPr lang="en-US" sz="1200" dirty="0" err="1" smtClean="0"/>
              <a:t>ezvoltarea</a:t>
            </a:r>
            <a:r>
              <a:rPr lang="en-US" sz="1200" dirty="0" smtClean="0"/>
              <a:t> a </a:t>
            </a:r>
            <a:r>
              <a:rPr lang="en-US" sz="1200" dirty="0" err="1" smtClean="0"/>
              <a:t>noi</a:t>
            </a:r>
            <a:r>
              <a:rPr lang="en-US" sz="1200" dirty="0" smtClean="0"/>
              <a:t> </a:t>
            </a:r>
            <a:r>
              <a:rPr lang="en-US" sz="1200" dirty="0" err="1" smtClean="0"/>
              <a:t>factori</a:t>
            </a:r>
            <a:r>
              <a:rPr lang="en-US" sz="1200" dirty="0" smtClean="0"/>
              <a:t> de </a:t>
            </a:r>
            <a:r>
              <a:rPr lang="en-US" sz="1200" dirty="0" err="1" smtClean="0"/>
              <a:t>crestere</a:t>
            </a:r>
            <a:r>
              <a:rPr lang="en-US" sz="1200" dirty="0" smtClean="0"/>
              <a:t> (</a:t>
            </a:r>
            <a:r>
              <a:rPr lang="en-US" sz="1200" dirty="0" err="1" smtClean="0"/>
              <a:t>asigurari</a:t>
            </a:r>
            <a:r>
              <a:rPr lang="en-US" sz="1200" dirty="0" smtClean="0"/>
              <a:t>, </a:t>
            </a:r>
            <a:r>
              <a:rPr lang="en-US" sz="1200" dirty="0" err="1" smtClean="0"/>
              <a:t>administrarea</a:t>
            </a:r>
            <a:r>
              <a:rPr lang="en-US" sz="1200" dirty="0" smtClean="0"/>
              <a:t> </a:t>
            </a:r>
            <a:r>
              <a:rPr lang="en-US" sz="1200" dirty="0" err="1" smtClean="0"/>
              <a:t>activelor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fr-FR" smtClean="0"/>
              <a:t>P.</a:t>
            </a:r>
            <a:fld id="{003F20CB-8015-45D2-9193-C40D9116952D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11" name="Titre 16"/>
          <p:cNvSpPr txBox="1">
            <a:spLocks/>
          </p:cNvSpPr>
          <p:nvPr/>
        </p:nvSpPr>
        <p:spPr>
          <a:xfrm>
            <a:off x="407254" y="356746"/>
            <a:ext cx="8382123" cy="276999"/>
          </a:xfrm>
          <a:prstGeom prst="rect">
            <a:avLst/>
          </a:prstGeom>
        </p:spPr>
        <p:txBody>
          <a:bodyPr vert="horz" wrap="square" lIns="0" tIns="0" rIns="66461" bIns="0" rtlCol="0" anchor="ctr">
            <a:spAutoFit/>
          </a:bodyPr>
          <a:lstStyle/>
          <a:p>
            <a:pPr algn="l" defTabSz="84400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cap="all" dirty="0" err="1" smtClean="0">
                <a:solidFill>
                  <a:srgbClr val="E60028"/>
                </a:solidFill>
                <a:ea typeface="+mj-ea"/>
              </a:rPr>
              <a:t>Evolutia</a:t>
            </a:r>
            <a:r>
              <a:rPr lang="en-US" b="1" cap="all" dirty="0" smtClean="0">
                <a:solidFill>
                  <a:srgbClr val="E60028"/>
                </a:solidFill>
                <a:ea typeface="+mj-ea"/>
              </a:rPr>
              <a:t> </a:t>
            </a:r>
            <a:r>
              <a:rPr lang="en-US" b="1" cap="all" dirty="0" err="1" smtClean="0">
                <a:solidFill>
                  <a:srgbClr val="E60028"/>
                </a:solidFill>
                <a:ea typeface="+mj-ea"/>
              </a:rPr>
              <a:t>profitabilitatii</a:t>
            </a:r>
            <a:endParaRPr lang="en-US" b="1" cap="all" dirty="0">
              <a:solidFill>
                <a:srgbClr val="E60028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88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602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/>
          <p:nvPr/>
        </p:nvSpPr>
        <p:spPr bwMode="auto">
          <a:xfrm>
            <a:off x="6372200" y="1982519"/>
            <a:ext cx="2664296" cy="798409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100" b="1" i="1" dirty="0" smtClean="0"/>
              <a:t>     </a:t>
            </a:r>
            <a:r>
              <a:rPr lang="en-US" sz="1100" b="1" i="1" dirty="0" err="1" smtClean="0"/>
              <a:t>Venitul</a:t>
            </a:r>
            <a:r>
              <a:rPr lang="en-US" sz="1100" b="1" i="1" dirty="0" smtClean="0"/>
              <a:t> net </a:t>
            </a:r>
            <a:r>
              <a:rPr lang="en-US" sz="1100" b="1" i="1" dirty="0" err="1" smtClean="0"/>
              <a:t>bancar</a:t>
            </a:r>
            <a:r>
              <a:rPr lang="en-US" sz="1100" b="1" i="1" dirty="0" smtClean="0"/>
              <a:t> </a:t>
            </a:r>
            <a:r>
              <a:rPr lang="en-US" sz="1100" b="1" i="1" dirty="0" err="1" smtClean="0"/>
              <a:t>stabil</a:t>
            </a:r>
            <a:r>
              <a:rPr lang="en-US" sz="1100" b="1" i="1" dirty="0" smtClean="0"/>
              <a:t> in 2021</a:t>
            </a:r>
          </a:p>
          <a:p>
            <a:pPr algn="l">
              <a:lnSpc>
                <a:spcPct val="70000"/>
              </a:lnSpc>
            </a:pPr>
            <a:r>
              <a:rPr lang="en-US" sz="1000" i="1" dirty="0" smtClean="0"/>
              <a:t>   </a:t>
            </a:r>
          </a:p>
          <a:p>
            <a:pPr algn="l">
              <a:lnSpc>
                <a:spcPct val="70000"/>
              </a:lnSpc>
            </a:pPr>
            <a:r>
              <a:rPr lang="en-US" sz="1000" i="1" dirty="0"/>
              <a:t> </a:t>
            </a:r>
            <a:r>
              <a:rPr lang="en-US" sz="1000" i="1" dirty="0" smtClean="0"/>
              <a:t>   </a:t>
            </a:r>
            <a:r>
              <a:rPr lang="en-US" sz="1000" i="1" dirty="0" err="1" smtClean="0"/>
              <a:t>Veniturile</a:t>
            </a:r>
            <a:r>
              <a:rPr lang="en-US" sz="1000" i="1" dirty="0" smtClean="0"/>
              <a:t> </a:t>
            </a:r>
            <a:r>
              <a:rPr lang="en-US" sz="1000" i="1" dirty="0" err="1" smtClean="0"/>
              <a:t>nete</a:t>
            </a:r>
            <a:r>
              <a:rPr lang="en-US" sz="1000" i="1" dirty="0" smtClean="0"/>
              <a:t> din </a:t>
            </a:r>
            <a:r>
              <a:rPr lang="en-US" sz="1000" i="1" dirty="0" err="1" smtClean="0"/>
              <a:t>dobanzi</a:t>
            </a:r>
            <a:r>
              <a:rPr lang="en-US" sz="1000" i="1" dirty="0" smtClean="0"/>
              <a:t> </a:t>
            </a:r>
            <a:r>
              <a:rPr lang="en-US" sz="1000" i="1" dirty="0" err="1" smtClean="0"/>
              <a:t>influentate</a:t>
            </a:r>
            <a:r>
              <a:rPr lang="en-US" sz="1000" i="1" dirty="0" smtClean="0"/>
              <a:t> </a:t>
            </a:r>
          </a:p>
          <a:p>
            <a:pPr algn="l">
              <a:lnSpc>
                <a:spcPct val="70000"/>
              </a:lnSpc>
            </a:pPr>
            <a:r>
              <a:rPr lang="en-US" sz="1000" i="1" dirty="0" smtClean="0"/>
              <a:t>    </a:t>
            </a:r>
            <a:r>
              <a:rPr lang="en-US" sz="1000" i="1" dirty="0" err="1" smtClean="0"/>
              <a:t>negativ</a:t>
            </a:r>
            <a:r>
              <a:rPr lang="en-US" sz="1000" i="1" dirty="0" smtClean="0"/>
              <a:t> de </a:t>
            </a:r>
            <a:r>
              <a:rPr lang="en-US" sz="1000" i="1" dirty="0" err="1" smtClean="0"/>
              <a:t>evolutia</a:t>
            </a:r>
            <a:r>
              <a:rPr lang="en-US" sz="1000" i="1" dirty="0" smtClean="0"/>
              <a:t> </a:t>
            </a:r>
            <a:r>
              <a:rPr lang="en-US" sz="1000" i="1" dirty="0" err="1" smtClean="0"/>
              <a:t>ratelor</a:t>
            </a:r>
            <a:r>
              <a:rPr lang="en-US" sz="1000" i="1" dirty="0" smtClean="0"/>
              <a:t> de </a:t>
            </a:r>
            <a:r>
              <a:rPr lang="en-US" sz="1000" i="1" dirty="0" err="1" smtClean="0"/>
              <a:t>dobanda</a:t>
            </a:r>
            <a:r>
              <a:rPr lang="en-US" sz="1000" i="1" dirty="0" smtClean="0"/>
              <a:t>, </a:t>
            </a:r>
          </a:p>
          <a:p>
            <a:pPr algn="l">
              <a:lnSpc>
                <a:spcPct val="70000"/>
              </a:lnSpc>
            </a:pPr>
            <a:r>
              <a:rPr lang="en-US" sz="1000" i="1" dirty="0" smtClean="0"/>
              <a:t>    </a:t>
            </a:r>
            <a:r>
              <a:rPr lang="en-US" sz="1000" i="1" dirty="0" err="1" smtClean="0"/>
              <a:t>dar</a:t>
            </a:r>
            <a:r>
              <a:rPr lang="en-US" sz="1000" i="1" dirty="0" smtClean="0"/>
              <a:t> </a:t>
            </a:r>
            <a:r>
              <a:rPr lang="en-US" sz="1000" i="1" dirty="0" err="1" smtClean="0"/>
              <a:t>pozitiv</a:t>
            </a:r>
            <a:r>
              <a:rPr lang="en-US" sz="1000" i="1" dirty="0" smtClean="0"/>
              <a:t> de </a:t>
            </a:r>
            <a:r>
              <a:rPr lang="en-US" sz="1000" i="1" dirty="0" err="1" smtClean="0"/>
              <a:t>cresterea</a:t>
            </a:r>
            <a:r>
              <a:rPr lang="en-US" sz="1000" i="1" dirty="0" smtClean="0"/>
              <a:t>  </a:t>
            </a:r>
            <a:r>
              <a:rPr lang="en-US" sz="1000" i="1" dirty="0" err="1" smtClean="0"/>
              <a:t>volumelor</a:t>
            </a:r>
            <a:endParaRPr lang="en-US" sz="1000" dirty="0"/>
          </a:p>
        </p:txBody>
      </p:sp>
      <p:sp>
        <p:nvSpPr>
          <p:cNvPr id="32" name="Rounded Rectangle 31"/>
          <p:cNvSpPr/>
          <p:nvPr/>
        </p:nvSpPr>
        <p:spPr bwMode="auto">
          <a:xfrm>
            <a:off x="6467635" y="5533576"/>
            <a:ext cx="2562614" cy="576979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1100" b="1" i="1" dirty="0" smtClean="0"/>
              <a:t>         </a:t>
            </a:r>
            <a:r>
              <a:rPr lang="en-US" sz="1100" b="1" i="1" dirty="0"/>
              <a:t>ROE </a:t>
            </a:r>
            <a:r>
              <a:rPr lang="en-US" sz="1100" b="1" i="1" dirty="0" smtClean="0"/>
              <a:t> in </a:t>
            </a:r>
            <a:r>
              <a:rPr lang="en-US" sz="1100" b="1" i="1" dirty="0" err="1" smtClean="0"/>
              <a:t>jur</a:t>
            </a:r>
            <a:r>
              <a:rPr lang="en-US" sz="1100" b="1" i="1" dirty="0" smtClean="0"/>
              <a:t> de 10%  </a:t>
            </a:r>
            <a:endParaRPr lang="en-US" sz="1100" b="1" i="1" dirty="0"/>
          </a:p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900" b="1" i="1" dirty="0" smtClean="0"/>
              <a:t>       </a:t>
            </a:r>
            <a:r>
              <a:rPr lang="en-US" sz="900" i="1" dirty="0" err="1" smtClean="0"/>
              <a:t>Minimizat</a:t>
            </a:r>
            <a:r>
              <a:rPr lang="en-US" sz="900" i="1" dirty="0" smtClean="0"/>
              <a:t> </a:t>
            </a:r>
            <a:r>
              <a:rPr lang="en-US" sz="900" i="1" dirty="0" err="1"/>
              <a:t>prin</a:t>
            </a:r>
            <a:r>
              <a:rPr lang="en-US" sz="900" i="1" dirty="0"/>
              <a:t> </a:t>
            </a:r>
            <a:r>
              <a:rPr lang="en-US" sz="900" i="1" dirty="0" err="1"/>
              <a:t>situatia</a:t>
            </a:r>
            <a:r>
              <a:rPr lang="en-US" sz="900" i="1" dirty="0"/>
              <a:t> de </a:t>
            </a:r>
            <a:endParaRPr lang="en-US" sz="900" i="1" dirty="0" smtClean="0"/>
          </a:p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900" i="1" dirty="0" smtClean="0"/>
              <a:t>       </a:t>
            </a:r>
            <a:r>
              <a:rPr lang="en-US" sz="900" i="1" dirty="0" err="1" smtClean="0"/>
              <a:t>supracapitalizare</a:t>
            </a:r>
            <a:r>
              <a:rPr lang="en-US" sz="900" i="1" dirty="0" smtClean="0"/>
              <a:t> </a:t>
            </a:r>
            <a:r>
              <a:rPr lang="en-US" sz="900" i="1" dirty="0"/>
              <a:t>din 2021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6437961" y="2944079"/>
            <a:ext cx="2592288" cy="339803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1400" i="1" dirty="0"/>
              <a:t> </a:t>
            </a:r>
            <a:r>
              <a:rPr lang="en-US" sz="1400" i="1" dirty="0" smtClean="0"/>
              <a:t>  </a:t>
            </a:r>
            <a:r>
              <a:rPr lang="en-US" sz="1100" b="1" i="1" dirty="0" smtClean="0"/>
              <a:t>Control strict al </a:t>
            </a:r>
            <a:r>
              <a:rPr lang="en-US" sz="1100" b="1" i="1" dirty="0" err="1" smtClean="0"/>
              <a:t>cheltuielilor</a:t>
            </a:r>
            <a:r>
              <a:rPr lang="en-US" sz="1100" b="1" i="1" dirty="0" smtClean="0"/>
              <a:t> </a:t>
            </a:r>
          </a:p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1100" b="1" i="1" dirty="0" smtClean="0"/>
              <a:t>         </a:t>
            </a:r>
            <a:r>
              <a:rPr lang="en-US" sz="1100" b="1" i="1" dirty="0" err="1" smtClean="0"/>
              <a:t>operationale</a:t>
            </a:r>
            <a:endParaRPr lang="en-US" sz="1100" b="1" i="1" baseline="30000" dirty="0"/>
          </a:p>
        </p:txBody>
      </p:sp>
      <p:sp>
        <p:nvSpPr>
          <p:cNvPr id="9" name="Slide Number Placeholder 4"/>
          <p:cNvSpPr txBox="1">
            <a:spLocks noGrp="1"/>
          </p:cNvSpPr>
          <p:nvPr/>
        </p:nvSpPr>
        <p:spPr bwMode="gray">
          <a:xfrm>
            <a:off x="8459788" y="6416675"/>
            <a:ext cx="36036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/>
            <a:r>
              <a:rPr lang="en-GB" sz="800" b="1" dirty="0" smtClean="0"/>
              <a:t>P.7</a:t>
            </a:r>
            <a:endParaRPr lang="en-GB" sz="800" b="1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5707" y="278002"/>
            <a:ext cx="8424381" cy="276999"/>
          </a:xfrm>
        </p:spPr>
        <p:txBody>
          <a:bodyPr vert="horz"/>
          <a:lstStyle/>
          <a:p>
            <a:r>
              <a:rPr lang="en-US" sz="1800" b="1" dirty="0" smtClean="0">
                <a:solidFill>
                  <a:srgbClr val="E60028"/>
                </a:solidFill>
              </a:rPr>
              <a:t>BUDGET 2021 -  PROFITABILITATE</a:t>
            </a:r>
            <a:endParaRPr lang="en-US" sz="1800" b="1" dirty="0">
              <a:solidFill>
                <a:srgbClr val="E60028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820150" y="5298243"/>
            <a:ext cx="4572000" cy="4154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>
              <a:lnSpc>
                <a:spcPct val="70000"/>
              </a:lnSpc>
            </a:pPr>
            <a:r>
              <a:rPr lang="en-US" i="1" baseline="30000" dirty="0"/>
              <a:t> </a:t>
            </a:r>
          </a:p>
          <a:p>
            <a:pPr algn="l">
              <a:lnSpc>
                <a:spcPct val="70000"/>
              </a:lnSpc>
            </a:pPr>
            <a:r>
              <a:rPr lang="en-US" i="1" dirty="0"/>
              <a:t>        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6616486" y="980728"/>
            <a:ext cx="2239828" cy="576064"/>
          </a:xfrm>
          <a:prstGeom prst="rect">
            <a:avLst/>
          </a:prstGeom>
          <a:solidFill>
            <a:srgbClr val="E6002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</a:pPr>
            <a:r>
              <a:rPr lang="en-US" sz="1400" b="1" i="1" dirty="0" smtClean="0">
                <a:solidFill>
                  <a:schemeClr val="bg1"/>
                </a:solidFill>
              </a:rPr>
              <a:t>  Perspective </a:t>
            </a:r>
            <a:r>
              <a:rPr lang="en-US" sz="1400" b="1" i="1" dirty="0" err="1" smtClean="0">
                <a:solidFill>
                  <a:schemeClr val="bg1"/>
                </a:solidFill>
              </a:rPr>
              <a:t>pentru</a:t>
            </a:r>
            <a:r>
              <a:rPr lang="en-US" sz="1400" b="1" i="1" dirty="0" smtClean="0">
                <a:solidFill>
                  <a:schemeClr val="bg1"/>
                </a:solidFill>
              </a:rPr>
              <a:t> </a:t>
            </a:r>
            <a:r>
              <a:rPr lang="en-US" sz="1400" b="1" i="1" dirty="0">
                <a:solidFill>
                  <a:schemeClr val="bg1"/>
                </a:solidFill>
              </a:rPr>
              <a:t>2021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6431461" y="3885825"/>
            <a:ext cx="2598788" cy="339803"/>
          </a:xfrm>
          <a:prstGeom prst="roundRect">
            <a:avLst/>
          </a:prstGeom>
          <a:noFill/>
          <a:ln w="9525" cap="flat" cmpd="sng" algn="ctr">
            <a:solidFill>
              <a:srgbClr val="E6002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l">
              <a:lnSpc>
                <a:spcPct val="70000"/>
              </a:lnSpc>
              <a:spcBef>
                <a:spcPts val="300"/>
              </a:spcBef>
            </a:pPr>
            <a:r>
              <a:rPr lang="en-US" sz="1100" b="1" i="1" dirty="0" smtClean="0"/>
              <a:t>    CNR  in </a:t>
            </a:r>
            <a:r>
              <a:rPr lang="en-US" sz="1100" b="1" i="1" dirty="0" err="1" smtClean="0"/>
              <a:t>jur</a:t>
            </a:r>
            <a:r>
              <a:rPr lang="en-US" sz="1100" b="1" i="1" dirty="0" smtClean="0"/>
              <a:t> de 100 bps</a:t>
            </a:r>
            <a:endParaRPr lang="en-US" sz="1100" b="1" i="1" dirty="0"/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6879946"/>
              </p:ext>
            </p:extLst>
          </p:nvPr>
        </p:nvGraphicFramePr>
        <p:xfrm>
          <a:off x="300038" y="908720"/>
          <a:ext cx="6056312" cy="52565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3" name="Worksheet" r:id="rId7" imgW="6838962" imgH="3892506" progId="Excel.Sheet.12">
                  <p:link updateAutomatic="1"/>
                </p:oleObj>
              </mc:Choice>
              <mc:Fallback>
                <p:oleObj name="Worksheet" r:id="rId7" imgW="6838962" imgH="389250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00038" y="908720"/>
                        <a:ext cx="6056312" cy="52565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116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z7N8YsWwHN2jcf82zf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.MON4w6E9_0UHgRZh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DEOymWfPIXOyEnGXf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_H78gsxg7d8oXms3Xo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usj.O2tjXwTkcaBAO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joJwIHUry05z1Q_83S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dele BHFM 20110704">
  <a:themeElements>
    <a:clrScheme name="Modele BHFM 20110704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Modele BHFM 2011070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Modele BHFM 20110704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G_FR_Sommaire_1">
  <a:themeElements>
    <a:clrScheme name="1_SG_FR_Sommai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SG_FR_Sommaire_2">
  <a:themeElements>
    <a:clrScheme name="1_SG_FR_Sommaire_2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Sommaire_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Sommaire_2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SG_FR_Chapitre_1">
  <a:themeElements>
    <a:clrScheme name="1_SG_FR_Chapitre_1 1">
      <a:dk1>
        <a:srgbClr val="E60028"/>
      </a:dk1>
      <a:lt1>
        <a:srgbClr val="FFFFFF"/>
      </a:lt1>
      <a:dk2>
        <a:srgbClr val="7DBE78"/>
      </a:dk2>
      <a:lt2>
        <a:srgbClr val="6E6E87"/>
      </a:lt2>
      <a:accent1>
        <a:srgbClr val="69AACD"/>
      </a:accent1>
      <a:accent2>
        <a:srgbClr val="C8AAC3"/>
      </a:accent2>
      <a:accent3>
        <a:srgbClr val="FFFFFF"/>
      </a:accent3>
      <a:accent4>
        <a:srgbClr val="C40021"/>
      </a:accent4>
      <a:accent5>
        <a:srgbClr val="B9D2E3"/>
      </a:accent5>
      <a:accent6>
        <a:srgbClr val="B59AB0"/>
      </a:accent6>
      <a:hlink>
        <a:srgbClr val="F0B93C"/>
      </a:hlink>
      <a:folHlink>
        <a:srgbClr val="C86E5A"/>
      </a:folHlink>
    </a:clrScheme>
    <a:fontScheme name="1_SG_FR_Chapitre_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SG_FR_Chapitre_1 1">
        <a:dk1>
          <a:srgbClr val="E60028"/>
        </a:dk1>
        <a:lt1>
          <a:srgbClr val="FFFFFF"/>
        </a:lt1>
        <a:dk2>
          <a:srgbClr val="7DBE78"/>
        </a:dk2>
        <a:lt2>
          <a:srgbClr val="6E6E87"/>
        </a:lt2>
        <a:accent1>
          <a:srgbClr val="69AACD"/>
        </a:accent1>
        <a:accent2>
          <a:srgbClr val="C8AAC3"/>
        </a:accent2>
        <a:accent3>
          <a:srgbClr val="FFFFFF"/>
        </a:accent3>
        <a:accent4>
          <a:srgbClr val="C40021"/>
        </a:accent4>
        <a:accent5>
          <a:srgbClr val="B9D2E3"/>
        </a:accent5>
        <a:accent6>
          <a:srgbClr val="B59AB0"/>
        </a:accent6>
        <a:hlink>
          <a:srgbClr val="F0B93C"/>
        </a:hlink>
        <a:folHlink>
          <a:srgbClr val="C86E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 BHFM 20110704</Template>
  <TotalTime>25846</TotalTime>
  <Words>1298</Words>
  <Application>Microsoft Office PowerPoint</Application>
  <PresentationFormat>On-screen Show (4:3)</PresentationFormat>
  <Paragraphs>125</Paragraphs>
  <Slides>7</Slides>
  <Notes>5</Notes>
  <HiddenSlides>0</HiddenSlides>
  <MMClips>0</MMClips>
  <ScaleCrop>false</ScaleCrop>
  <HeadingPairs>
    <vt:vector size="10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Links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ＭＳ Ｐゴシック</vt:lpstr>
      <vt:lpstr>Arial</vt:lpstr>
      <vt:lpstr>Arial</vt:lpstr>
      <vt:lpstr>Arial Narrow</vt:lpstr>
      <vt:lpstr>Helvetica</vt:lpstr>
      <vt:lpstr>Wingdings</vt:lpstr>
      <vt:lpstr>Modele BHFM 20110704</vt:lpstr>
      <vt:lpstr>1_SG_FR_Sommaire_1</vt:lpstr>
      <vt:lpstr>1_SG_FR_Sommaire_2</vt:lpstr>
      <vt:lpstr>1_SG_FR_Chapitre_1</vt:lpstr>
      <vt:lpstr>file:///\\xfs07\Sinteza%20Lunara\Budget%202021\AGA\AGA%202021%20new.xlsx!Sheet1!R21C5:R31C12</vt:lpstr>
      <vt:lpstr>file:///\\xfs07\Sinteza%20Lunara\Budget%202021\AGA\AGA%202021%20new.xlsx!Sheet1!R20C15:R33C22</vt:lpstr>
      <vt:lpstr>file:///\\xfs07\Sinteza%20Lunara\Budget%202021\AGA\AGA%202021%20PL.xlsx!rezultate%20rom%20!R3C1:R15C10</vt:lpstr>
      <vt:lpstr>think-cell Slide</vt:lpstr>
      <vt:lpstr>BRD GRUP Buget 2021</vt:lpstr>
      <vt:lpstr>PowerPoint Presentation</vt:lpstr>
      <vt:lpstr>TRANSFORMAREA MODELULUI DE AFACERI | RETAIL</vt:lpstr>
      <vt:lpstr>TRANSFORMAREA MODELULUI DE AFACERI | COMPANII</vt:lpstr>
      <vt:lpstr>BUDGET 2021-  INDICATORI CHEIE</vt:lpstr>
      <vt:lpstr>PowerPoint Presentation</vt:lpstr>
      <vt:lpstr>BUDGET 2021 -  PROFITABILITATE</vt:lpstr>
    </vt:vector>
  </TitlesOfParts>
  <Company>Société Généra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de la filiale XXX</dc:title>
  <dc:creator>adina.rosu</dc:creator>
  <cp:lastModifiedBy>ROSU Adina</cp:lastModifiedBy>
  <cp:revision>1776</cp:revision>
  <cp:lastPrinted>2021-03-17T09:43:42Z</cp:lastPrinted>
  <dcterms:created xsi:type="dcterms:W3CDTF">2011-07-27T08:58:46Z</dcterms:created>
  <dcterms:modified xsi:type="dcterms:W3CDTF">2021-04-02T12:51:20Z</dcterms:modified>
</cp:coreProperties>
</file>